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6"/>
  </p:notesMasterIdLst>
  <p:sldIdLst>
    <p:sldId id="256" r:id="rId2"/>
    <p:sldId id="257" r:id="rId3"/>
    <p:sldId id="264" r:id="rId4"/>
    <p:sldId id="270" r:id="rId5"/>
    <p:sldId id="260" r:id="rId6"/>
    <p:sldId id="261" r:id="rId7"/>
    <p:sldId id="262" r:id="rId8"/>
    <p:sldId id="267" r:id="rId9"/>
    <p:sldId id="268" r:id="rId10"/>
    <p:sldId id="269" r:id="rId11"/>
    <p:sldId id="271" r:id="rId12"/>
    <p:sldId id="273" r:id="rId13"/>
    <p:sldId id="274" r:id="rId14"/>
    <p:sldId id="265" r:id="rId15"/>
  </p:sldIdLst>
  <p:sldSz cx="9144000" cy="6858000" type="screen4x3"/>
  <p:notesSz cx="6858000" cy="9144000"/>
  <p:embeddedFontLst>
    <p:embeddedFont>
      <p:font typeface="Technika-Bold" panose="00000600000000000000" charset="-18"/>
      <p:regular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Technika" panose="020B0604020202020204" charset="-18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24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BADF84-AE7E-43E6-93FD-C1A133DBC8A4}" type="datetimeFigureOut">
              <a:rPr lang="cs-CZ" smtClean="0"/>
              <a:t>19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DDF10E-C54A-4B12-AE92-057EB15DEF5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8506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9" r="937" b="9238"/>
          <a:stretch/>
        </p:blipFill>
        <p:spPr>
          <a:xfrm>
            <a:off x="0" y="2"/>
            <a:ext cx="9144000" cy="6857998"/>
          </a:xfrm>
          <a:custGeom>
            <a:avLst/>
            <a:gdLst>
              <a:gd name="connsiteX0" fmla="*/ 0 w 9144000"/>
              <a:gd name="connsiteY0" fmla="*/ 0 h 6857998"/>
              <a:gd name="connsiteX1" fmla="*/ 9144000 w 9144000"/>
              <a:gd name="connsiteY1" fmla="*/ 0 h 6857998"/>
              <a:gd name="connsiteX2" fmla="*/ 9144000 w 9144000"/>
              <a:gd name="connsiteY2" fmla="*/ 6857998 h 6857998"/>
              <a:gd name="connsiteX3" fmla="*/ 0 w 9144000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8">
                <a:moveTo>
                  <a:pt x="0" y="0"/>
                </a:moveTo>
                <a:lnTo>
                  <a:pt x="9144000" y="0"/>
                </a:lnTo>
                <a:lnTo>
                  <a:pt x="9144000" y="6857998"/>
                </a:lnTo>
                <a:lnTo>
                  <a:pt x="0" y="6857998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92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60498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92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424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68379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4400" y="274320"/>
            <a:ext cx="6689600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70001" y="6268278"/>
            <a:ext cx="2504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FA29423-668E-4D5D-8EFB-28187F8AF571}" type="datetime1">
              <a:rPr lang="cs-CZ" smtClean="0"/>
              <a:t>19.5.2017</a:t>
            </a:fld>
            <a:endParaRPr lang="cs-CZ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6369340" y="6268278"/>
            <a:ext cx="2504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dirty="0" err="1"/>
              <a:t>Slide</a:t>
            </a:r>
            <a:r>
              <a:rPr lang="cs-CZ" dirty="0"/>
              <a:t> </a:t>
            </a:r>
            <a:fld id="{B9D15741-D646-4AB4-BF76-E91F28E93924}" type="slidenum">
              <a:rPr lang="cs-CZ" smtClean="0"/>
              <a:t>‹#›</a:t>
            </a:fld>
            <a:endParaRPr lang="cs-CZ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319670" y="6268278"/>
            <a:ext cx="2504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NSS projekt: </a:t>
            </a:r>
            <a:r>
              <a:rPr lang="cs-CZ" dirty="0" err="1" smtClean="0"/>
              <a:t>ČvT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  <p:sldLayoutId id="2147483688" r:id="rId7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3000"/>
              </a:spcBef>
              <a:spcAft>
                <a:spcPts val="1200"/>
              </a:spcAft>
            </a:pPr>
            <a:r>
              <a:rPr lang="cs-CZ" sz="4400" dirty="0"/>
              <a:t>Projekt </a:t>
            </a:r>
            <a:r>
              <a:rPr lang="cs-CZ" sz="4400" dirty="0" smtClean="0"/>
              <a:t>NSS:</a:t>
            </a:r>
            <a:br>
              <a:rPr lang="cs-CZ" sz="4400" dirty="0" smtClean="0"/>
            </a:br>
            <a:r>
              <a:rPr lang="cs-CZ" sz="4400" dirty="0" smtClean="0"/>
              <a:t>Dobrovolnická databáze </a:t>
            </a:r>
            <a:br>
              <a:rPr lang="cs-CZ" sz="4400" dirty="0" smtClean="0"/>
            </a:br>
            <a:r>
              <a:rPr lang="cs-CZ" sz="4400" dirty="0" smtClean="0"/>
              <a:t>pro </a:t>
            </a:r>
            <a:r>
              <a:rPr lang="cs-CZ" sz="4400" dirty="0"/>
              <a:t>Člověka v </a:t>
            </a:r>
            <a:r>
              <a:rPr lang="cs-CZ" sz="4400" dirty="0" smtClean="0"/>
              <a:t>tísni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0" dirty="0" smtClean="0"/>
              <a:t>Finální prezentace projektu</a:t>
            </a:r>
            <a:endParaRPr lang="cs-CZ" sz="3600" b="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080000" y="4557838"/>
            <a:ext cx="7736693" cy="1771721"/>
          </a:xfrm>
        </p:spPr>
        <p:txBody>
          <a:bodyPr>
            <a:noAutofit/>
          </a:bodyPr>
          <a:lstStyle/>
          <a:p>
            <a:endParaRPr lang="cs-CZ" dirty="0"/>
          </a:p>
          <a:p>
            <a:r>
              <a:rPr lang="en-US" dirty="0"/>
              <a:t>David </a:t>
            </a:r>
            <a:r>
              <a:rPr lang="en-US" dirty="0" err="1"/>
              <a:t>Löffler</a:t>
            </a:r>
            <a:r>
              <a:rPr lang="cs-CZ" dirty="0"/>
              <a:t>, </a:t>
            </a:r>
            <a:r>
              <a:rPr lang="en-US" dirty="0" err="1"/>
              <a:t>Kryštof</a:t>
            </a:r>
            <a:r>
              <a:rPr lang="en-US" dirty="0"/>
              <a:t> </a:t>
            </a:r>
            <a:r>
              <a:rPr lang="en-US" dirty="0" err="1"/>
              <a:t>Sýkora</a:t>
            </a:r>
            <a:r>
              <a:rPr lang="en-US" dirty="0"/>
              <a:t>, Marek Szeles,</a:t>
            </a:r>
            <a:r>
              <a:rPr lang="cs-CZ" dirty="0"/>
              <a:t> </a:t>
            </a:r>
            <a:br>
              <a:rPr lang="cs-CZ" dirty="0"/>
            </a:br>
            <a:r>
              <a:rPr lang="en-US" dirty="0"/>
              <a:t>Ho Minh Thanh, </a:t>
            </a:r>
            <a:r>
              <a:rPr lang="en-US" dirty="0" err="1"/>
              <a:t>Aneta</a:t>
            </a:r>
            <a:r>
              <a:rPr lang="en-US" dirty="0"/>
              <a:t> </a:t>
            </a:r>
            <a:r>
              <a:rPr lang="en-US" dirty="0" err="1"/>
              <a:t>Volfová</a:t>
            </a:r>
            <a:r>
              <a:rPr lang="en-US" dirty="0"/>
              <a:t> </a:t>
            </a:r>
            <a:endParaRPr lang="cs-CZ" dirty="0"/>
          </a:p>
          <a:p>
            <a:r>
              <a:rPr lang="cs-CZ" dirty="0" smtClean="0"/>
              <a:t>19</a:t>
            </a:r>
            <a:r>
              <a:rPr lang="en-US" dirty="0" smtClean="0"/>
              <a:t>.</a:t>
            </a:r>
            <a:r>
              <a:rPr lang="cs-CZ" dirty="0" smtClean="0"/>
              <a:t> 5</a:t>
            </a:r>
            <a:r>
              <a:rPr lang="en-US" dirty="0" smtClean="0"/>
              <a:t>.</a:t>
            </a:r>
            <a:r>
              <a:rPr lang="cs-CZ" dirty="0" smtClean="0"/>
              <a:t> </a:t>
            </a:r>
            <a:r>
              <a:rPr lang="en-US" dirty="0"/>
              <a:t>2017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414" y="291971"/>
            <a:ext cx="1696279" cy="1696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Spring</a:t>
            </a:r>
            <a:r>
              <a:rPr lang="cs-CZ" dirty="0"/>
              <a:t> </a:t>
            </a:r>
            <a:r>
              <a:rPr lang="cs-CZ" dirty="0" err="1"/>
              <a:t>architecture</a:t>
            </a:r>
            <a:endParaRPr lang="en-US" dirty="0"/>
          </a:p>
        </p:txBody>
      </p:sp>
      <p:pic>
        <p:nvPicPr>
          <p:cNvPr id="3074" name="Picture 2" descr="spring overview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4" b="3965"/>
          <a:stretch/>
        </p:blipFill>
        <p:spPr bwMode="auto">
          <a:xfrm>
            <a:off x="1184130" y="1169893"/>
            <a:ext cx="6781366" cy="4773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ovéPole 3"/>
          <p:cNvSpPr txBox="1"/>
          <p:nvPr/>
        </p:nvSpPr>
        <p:spPr>
          <a:xfrm>
            <a:off x="276281" y="5958662"/>
            <a:ext cx="79459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Zdroj: http://docs.spring.io/spring/docs/current/spring-framework-reference/html/overview.html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26814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attributes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Java EE</a:t>
            </a:r>
            <a:endParaRPr lang="en-US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626" y="1923535"/>
            <a:ext cx="8598374" cy="3760738"/>
          </a:xfrm>
          <a:prstGeom prst="rect">
            <a:avLst/>
          </a:prstGeom>
        </p:spPr>
      </p:pic>
      <p:sp>
        <p:nvSpPr>
          <p:cNvPr id="7" name="TextovéPole 3"/>
          <p:cNvSpPr txBox="1"/>
          <p:nvPr/>
        </p:nvSpPr>
        <p:spPr>
          <a:xfrm>
            <a:off x="276281" y="5824192"/>
            <a:ext cx="79459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Zdroj: https://www.researchgate.net/publication/224398744_High_Quality_Web-Application_Development_on_Java_EE_Platform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23724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Ukázka</a:t>
            </a:r>
            <a:endParaRPr lang="en-US" dirty="0"/>
          </a:p>
        </p:txBody>
      </p:sp>
      <p:pic>
        <p:nvPicPr>
          <p:cNvPr id="5" name="Obrázek 4" descr="Obsah obrázku snímek obrazovky&#10;&#10;Popis vygenerován s velmi vysokou mírou spolehlivosti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813" y="1110556"/>
            <a:ext cx="4055457" cy="2409214"/>
          </a:xfrm>
          <a:prstGeom prst="rect">
            <a:avLst/>
          </a:prstGeom>
        </p:spPr>
      </p:pic>
      <p:pic>
        <p:nvPicPr>
          <p:cNvPr id="7" name="Obrázek 6" descr="Obsah obrázku snímek obrazovky&#10;&#10;Popis vygenerován s velmi vysokou mírou spolehlivost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86" y="1389350"/>
            <a:ext cx="2009410" cy="874527"/>
          </a:xfrm>
          <a:prstGeom prst="rect">
            <a:avLst/>
          </a:prstGeom>
        </p:spPr>
      </p:pic>
      <p:pic>
        <p:nvPicPr>
          <p:cNvPr id="9" name="Obrázek 8" descr="Obsah obrázku snímek obrazovky&#10;&#10;Popis vygenerován s velmi vysokou mírou spolehlivosti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802" y="5284892"/>
            <a:ext cx="6481301" cy="1003223"/>
          </a:xfrm>
          <a:prstGeom prst="rect">
            <a:avLst/>
          </a:prstGeom>
        </p:spPr>
      </p:pic>
      <p:pic>
        <p:nvPicPr>
          <p:cNvPr id="13" name="Obrázek 12" descr="Obsah obrázku snímek obrazovky&#10;&#10;Popis vygenerován s velmi vysokou mírou spolehlivosti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86" y="2415314"/>
            <a:ext cx="3997876" cy="2302376"/>
          </a:xfrm>
          <a:prstGeom prst="rect">
            <a:avLst/>
          </a:prstGeom>
        </p:spPr>
      </p:pic>
      <p:pic>
        <p:nvPicPr>
          <p:cNvPr id="11" name="Obrázek 10" descr="Obsah obrázku snímek obrazovky&#10;&#10;Popis vygenerován s velmi vysokou mírou spolehlivosti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630" y="4342808"/>
            <a:ext cx="7085370" cy="769160"/>
          </a:xfrm>
          <a:prstGeom prst="rect">
            <a:avLst/>
          </a:prstGeom>
        </p:spPr>
      </p:pic>
      <p:sp>
        <p:nvSpPr>
          <p:cNvPr id="14" name="Šipka: doprava 13"/>
          <p:cNvSpPr/>
          <p:nvPr/>
        </p:nvSpPr>
        <p:spPr>
          <a:xfrm>
            <a:off x="2446600" y="1622322"/>
            <a:ext cx="2197509" cy="2802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Šipka: doprava 14"/>
          <p:cNvSpPr/>
          <p:nvPr/>
        </p:nvSpPr>
        <p:spPr>
          <a:xfrm rot="8374073">
            <a:off x="3500123" y="2457232"/>
            <a:ext cx="1496961" cy="3709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Šipka: doprava 15"/>
          <p:cNvSpPr/>
          <p:nvPr/>
        </p:nvSpPr>
        <p:spPr>
          <a:xfrm rot="2134373">
            <a:off x="3958671" y="3963805"/>
            <a:ext cx="1091381" cy="4081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Šipka: doprava 16"/>
          <p:cNvSpPr/>
          <p:nvPr/>
        </p:nvSpPr>
        <p:spPr>
          <a:xfrm rot="5400000">
            <a:off x="4437892" y="5037894"/>
            <a:ext cx="363545" cy="3323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900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02" y="4910967"/>
            <a:ext cx="874058" cy="874058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</a:t>
            </a:r>
            <a:r>
              <a:rPr lang="en-US" dirty="0" err="1"/>
              <a:t>moudra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z</a:t>
            </a:r>
            <a:r>
              <a:rPr lang="cs-CZ" dirty="0" err="1"/>
              <a:t>ávěr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653988" y="1724325"/>
            <a:ext cx="7220012" cy="1132271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pPr>
              <a:spcAft>
                <a:spcPts val="1200"/>
              </a:spcAft>
            </a:pPr>
            <a:r>
              <a:rPr lang="en-US" sz="2400" dirty="0" err="1"/>
              <a:t>Multivrstvov</a:t>
            </a:r>
            <a:r>
              <a:rPr lang="cs-CZ" sz="2400" dirty="0"/>
              <a:t>á architektura je kámoš!</a:t>
            </a:r>
            <a:endParaRPr lang="en-US" sz="2400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653988" y="2926979"/>
            <a:ext cx="7220012" cy="738682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pPr>
              <a:spcAft>
                <a:spcPts val="1200"/>
              </a:spcAft>
            </a:pPr>
            <a:r>
              <a:rPr lang="cs-CZ" sz="2400" dirty="0"/>
              <a:t>Java EE + </a:t>
            </a:r>
            <a:r>
              <a:rPr lang="cs-CZ" sz="2400" dirty="0" err="1"/>
              <a:t>Spring</a:t>
            </a:r>
            <a:r>
              <a:rPr lang="cs-CZ" sz="2400" dirty="0"/>
              <a:t> = </a:t>
            </a:r>
            <a:r>
              <a:rPr lang="cs-CZ" sz="2400" dirty="0" err="1"/>
              <a:t>cool</a:t>
            </a:r>
            <a:endParaRPr lang="cs-CZ" sz="2400" dirty="0"/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653988" y="3736044"/>
            <a:ext cx="7220012" cy="846257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pPr>
              <a:spcAft>
                <a:spcPts val="1200"/>
              </a:spcAft>
            </a:pPr>
            <a:r>
              <a:rPr lang="cs-CZ" sz="2400" dirty="0" err="1"/>
              <a:t>Javascript</a:t>
            </a:r>
            <a:r>
              <a:rPr lang="cs-CZ" sz="2400" dirty="0"/>
              <a:t> </a:t>
            </a:r>
            <a:r>
              <a:rPr lang="en-US" sz="2400" dirty="0"/>
              <a:t>je </a:t>
            </a:r>
            <a:r>
              <a:rPr lang="en-US" sz="2400" dirty="0" err="1"/>
              <a:t>st</a:t>
            </a:r>
            <a:r>
              <a:rPr lang="cs-CZ" sz="2400" dirty="0" err="1"/>
              <a:t>ále</a:t>
            </a:r>
            <a:r>
              <a:rPr lang="cs-CZ" sz="2400" dirty="0"/>
              <a:t> </a:t>
            </a:r>
            <a:r>
              <a:rPr lang="cs-CZ" sz="2400" strike="sngStrike" dirty="0"/>
              <a:t>na hovno</a:t>
            </a:r>
            <a:r>
              <a:rPr lang="cs-CZ" sz="2400" dirty="0"/>
              <a:t> špatný</a:t>
            </a:r>
            <a:endParaRPr lang="cs-CZ" sz="2400" strike="sngStrike" dirty="0"/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1653988" y="4652683"/>
            <a:ext cx="7220012" cy="13906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pPr>
              <a:spcAft>
                <a:spcPts val="1200"/>
              </a:spcAft>
            </a:pPr>
            <a:r>
              <a:rPr lang="cs-CZ" sz="2400" dirty="0"/>
              <a:t>A</a:t>
            </a:r>
            <a:r>
              <a:rPr lang="en-US" sz="2400" dirty="0" err="1"/>
              <a:t>pplication</a:t>
            </a:r>
            <a:r>
              <a:rPr lang="en-US" sz="2400" dirty="0"/>
              <a:t>/x-www-form-</a:t>
            </a:r>
            <a:r>
              <a:rPr lang="en-US" sz="2400" dirty="0" err="1"/>
              <a:t>urlencoded</a:t>
            </a:r>
            <a:r>
              <a:rPr lang="en-US" sz="2400" dirty="0"/>
              <a:t> </a:t>
            </a:r>
            <a:r>
              <a:rPr lang="en-US" sz="2400" dirty="0" err="1"/>
              <a:t>neum</a:t>
            </a:r>
            <a:r>
              <a:rPr lang="cs-CZ" sz="2400" dirty="0"/>
              <a:t>í </a:t>
            </a:r>
            <a:r>
              <a:rPr lang="cs-CZ" sz="2400" dirty="0" smtClean="0"/>
              <a:t/>
            </a:r>
            <a:br>
              <a:rPr lang="cs-CZ" sz="2400" dirty="0" smtClean="0"/>
            </a:br>
            <a:r>
              <a:rPr lang="cs-CZ" sz="2400" dirty="0" smtClean="0"/>
              <a:t>s </a:t>
            </a:r>
            <a:r>
              <a:rPr lang="cs-CZ" sz="2400" dirty="0"/>
              <a:t>diakritikou! Ani </a:t>
            </a:r>
            <a:r>
              <a:rPr lang="cs-CZ" sz="2400" dirty="0" err="1" smtClean="0"/>
              <a:t>lvl</a:t>
            </a:r>
            <a:r>
              <a:rPr lang="cs-CZ" sz="2400" dirty="0" smtClean="0"/>
              <a:t> 58 Master </a:t>
            </a:r>
            <a:r>
              <a:rPr lang="cs-CZ" sz="2400" dirty="0"/>
              <a:t>Ledvinka </a:t>
            </a:r>
            <a:r>
              <a:rPr lang="cs-CZ" sz="2400" dirty="0" smtClean="0"/>
              <a:t/>
            </a:r>
            <a:br>
              <a:rPr lang="cs-CZ" sz="2400" dirty="0" smtClean="0"/>
            </a:br>
            <a:r>
              <a:rPr lang="cs-CZ" sz="2400" dirty="0" smtClean="0"/>
              <a:t>a </a:t>
            </a:r>
            <a:r>
              <a:rPr lang="cs-CZ" sz="2400" dirty="0" err="1" smtClean="0"/>
              <a:t>lvl</a:t>
            </a:r>
            <a:r>
              <a:rPr lang="cs-CZ" sz="2400" dirty="0" smtClean="0"/>
              <a:t> 1337 </a:t>
            </a:r>
            <a:r>
              <a:rPr lang="cs-CZ" sz="2400" dirty="0" err="1" smtClean="0"/>
              <a:t>Grandmaster</a:t>
            </a:r>
            <a:r>
              <a:rPr lang="cs-CZ" sz="2400" dirty="0" smtClean="0"/>
              <a:t> </a:t>
            </a:r>
            <a:r>
              <a:rPr lang="cs-CZ" sz="2400" dirty="0"/>
              <a:t>Křemen neví proč.</a:t>
            </a:r>
            <a:endParaRPr lang="en-US" sz="2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30" y="1945296"/>
            <a:ext cx="690328" cy="690328"/>
          </a:xfrm>
          <a:prstGeom prst="rect">
            <a:avLst/>
          </a:prstGeom>
        </p:spPr>
      </p:pic>
      <p:pic>
        <p:nvPicPr>
          <p:cNvPr id="2050" name="Picture 2" descr="https://upload.wikimedia.org/wikipedia/commons/thumb/9/99/Unofficial_JavaScript_logo_2.svg/240px-Unofficial_JavaScript_logo_2.svg.png"/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06" y="3835047"/>
            <a:ext cx="648249" cy="648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upload.wikimedia.org/wikipedia/en/2/20/Pivotal_Java_Spring_Logo.png"/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65"/>
          <a:stretch/>
        </p:blipFill>
        <p:spPr bwMode="auto">
          <a:xfrm>
            <a:off x="440586" y="3165910"/>
            <a:ext cx="1011696" cy="266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645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27650" name="Picture 2" descr="Výsledek obrázku pro clovek v tisn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696259" y="1381645"/>
            <a:ext cx="6689600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92" kern="120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6000" dirty="0"/>
              <a:t>Děkujeme za pozornost </a:t>
            </a:r>
          </a:p>
        </p:txBody>
      </p:sp>
    </p:spTree>
    <p:extLst>
      <p:ext uri="{BB962C8B-B14F-4D97-AF65-F5344CB8AC3E}">
        <p14:creationId xmlns:p14="http://schemas.microsoft.com/office/powerpoint/2010/main" val="620369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 co jde?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4294967295"/>
          </p:nvPr>
        </p:nvSpPr>
        <p:spPr>
          <a:xfrm>
            <a:off x="520907" y="3360181"/>
            <a:ext cx="3892550" cy="2757488"/>
          </a:xfrm>
        </p:spPr>
        <p:txBody>
          <a:bodyPr lIns="90000" tIns="90000" rIns="90000" bIns="90000">
            <a:noAutofit/>
          </a:bodyPr>
          <a:lstStyle/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Papírové dotazníky, které vyplňuje dobrovolník po úvodním rozhovoru</a:t>
            </a:r>
          </a:p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Nástěnka v </a:t>
            </a:r>
            <a:r>
              <a:rPr lang="cs-CZ" sz="1800" dirty="0" err="1">
                <a:latin typeface="Arial" panose="020B0604020202020204" pitchFamily="34" charset="0"/>
                <a:cs typeface="Arial" panose="020B0604020202020204" pitchFamily="34" charset="0"/>
              </a:rPr>
              <a:t>Trellu</a:t>
            </a:r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Excelová čtvrtletní tabulka</a:t>
            </a:r>
          </a:p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Mailing list dobrovolníků v </a:t>
            </a:r>
            <a:r>
              <a:rPr lang="cs-CZ" sz="1800" dirty="0" err="1">
                <a:latin typeface="Arial" panose="020B0604020202020204" pitchFamily="34" charset="0"/>
                <a:cs typeface="Arial" panose="020B0604020202020204" pitchFamily="34" charset="0"/>
              </a:rPr>
              <a:t>mailchimpu</a:t>
            </a:r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/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Zástupný symbol pro text 2"/>
          <p:cNvSpPr txBox="1">
            <a:spLocks/>
          </p:cNvSpPr>
          <p:nvPr/>
        </p:nvSpPr>
        <p:spPr>
          <a:xfrm>
            <a:off x="4764835" y="3360896"/>
            <a:ext cx="3893391" cy="2756777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Práce s daty o dobrovolníkovi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Centralizace dat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nadná manipulace s těmi daty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Zefektivnění a usnadnění každodenní práce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Mít ty data aktuální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nadné sdílení dat mezi pobočkami</a:t>
            </a:r>
          </a:p>
        </p:txBody>
      </p:sp>
      <p:sp>
        <p:nvSpPr>
          <p:cNvPr id="5" name="FlowTriangle"/>
          <p:cNvSpPr>
            <a:spLocks noChangeArrowheads="1"/>
          </p:cNvSpPr>
          <p:nvPr/>
        </p:nvSpPr>
        <p:spPr bwMode="gray">
          <a:xfrm rot="5400000">
            <a:off x="2804794" y="4125983"/>
            <a:ext cx="3568700" cy="168133"/>
          </a:xfrm>
          <a:prstGeom prst="triangle">
            <a:avLst>
              <a:gd name="adj" fmla="val 50000"/>
            </a:avLst>
          </a:prstGeom>
          <a:solidFill>
            <a:srgbClr val="9B9B9B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400" b="1" kern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gray">
          <a:xfrm>
            <a:off x="520066" y="2868453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20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časný</a:t>
            </a: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v</a:t>
            </a: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4764835" y="2868453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třeby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855000" y="1533256"/>
            <a:ext cx="1223523" cy="1225939"/>
            <a:chOff x="4162864" y="1520908"/>
            <a:chExt cx="531240" cy="532289"/>
          </a:xfrm>
          <a:solidFill>
            <a:srgbClr val="0065BD"/>
          </a:solidFill>
        </p:grpSpPr>
        <p:sp>
          <p:nvSpPr>
            <p:cNvPr id="12" name="Freeform 78"/>
            <p:cNvSpPr>
              <a:spLocks noEditPoints="1"/>
            </p:cNvSpPr>
            <p:nvPr/>
          </p:nvSpPr>
          <p:spPr bwMode="auto">
            <a:xfrm>
              <a:off x="4276251" y="1852670"/>
              <a:ext cx="304466" cy="200527"/>
            </a:xfrm>
            <a:custGeom>
              <a:avLst/>
              <a:gdLst>
                <a:gd name="T0" fmla="*/ 105 w 290"/>
                <a:gd name="T1" fmla="*/ 0 h 191"/>
                <a:gd name="T2" fmla="*/ 84 w 290"/>
                <a:gd name="T3" fmla="*/ 2 h 191"/>
                <a:gd name="T4" fmla="*/ 48 w 290"/>
                <a:gd name="T5" fmla="*/ 15 h 191"/>
                <a:gd name="T6" fmla="*/ 21 w 290"/>
                <a:gd name="T7" fmla="*/ 42 h 191"/>
                <a:gd name="T8" fmla="*/ 6 w 290"/>
                <a:gd name="T9" fmla="*/ 78 h 191"/>
                <a:gd name="T10" fmla="*/ 4 w 290"/>
                <a:gd name="T11" fmla="*/ 97 h 191"/>
                <a:gd name="T12" fmla="*/ 0 w 290"/>
                <a:gd name="T13" fmla="*/ 128 h 191"/>
                <a:gd name="T14" fmla="*/ 4 w 290"/>
                <a:gd name="T15" fmla="*/ 149 h 191"/>
                <a:gd name="T16" fmla="*/ 8 w 290"/>
                <a:gd name="T17" fmla="*/ 153 h 191"/>
                <a:gd name="T18" fmla="*/ 35 w 290"/>
                <a:gd name="T19" fmla="*/ 170 h 191"/>
                <a:gd name="T20" fmla="*/ 69 w 290"/>
                <a:gd name="T21" fmla="*/ 181 h 191"/>
                <a:gd name="T22" fmla="*/ 107 w 290"/>
                <a:gd name="T23" fmla="*/ 189 h 191"/>
                <a:gd name="T24" fmla="*/ 145 w 290"/>
                <a:gd name="T25" fmla="*/ 191 h 191"/>
                <a:gd name="T26" fmla="*/ 202 w 290"/>
                <a:gd name="T27" fmla="*/ 185 h 191"/>
                <a:gd name="T28" fmla="*/ 240 w 290"/>
                <a:gd name="T29" fmla="*/ 177 h 191"/>
                <a:gd name="T30" fmla="*/ 271 w 290"/>
                <a:gd name="T31" fmla="*/ 162 h 191"/>
                <a:gd name="T32" fmla="*/ 282 w 290"/>
                <a:gd name="T33" fmla="*/ 153 h 191"/>
                <a:gd name="T34" fmla="*/ 288 w 290"/>
                <a:gd name="T35" fmla="*/ 141 h 191"/>
                <a:gd name="T36" fmla="*/ 288 w 290"/>
                <a:gd name="T37" fmla="*/ 111 h 191"/>
                <a:gd name="T38" fmla="*/ 286 w 290"/>
                <a:gd name="T39" fmla="*/ 97 h 191"/>
                <a:gd name="T40" fmla="*/ 278 w 290"/>
                <a:gd name="T41" fmla="*/ 59 h 191"/>
                <a:gd name="T42" fmla="*/ 256 w 290"/>
                <a:gd name="T43" fmla="*/ 29 h 191"/>
                <a:gd name="T44" fmla="*/ 225 w 290"/>
                <a:gd name="T45" fmla="*/ 8 h 191"/>
                <a:gd name="T46" fmla="*/ 187 w 290"/>
                <a:gd name="T47" fmla="*/ 0 h 191"/>
                <a:gd name="T48" fmla="*/ 269 w 290"/>
                <a:gd name="T49" fmla="*/ 137 h 191"/>
                <a:gd name="T50" fmla="*/ 261 w 290"/>
                <a:gd name="T51" fmla="*/ 143 h 191"/>
                <a:gd name="T52" fmla="*/ 237 w 290"/>
                <a:gd name="T53" fmla="*/ 154 h 191"/>
                <a:gd name="T54" fmla="*/ 204 w 290"/>
                <a:gd name="T55" fmla="*/ 164 h 191"/>
                <a:gd name="T56" fmla="*/ 147 w 290"/>
                <a:gd name="T57" fmla="*/ 168 h 191"/>
                <a:gd name="T58" fmla="*/ 105 w 290"/>
                <a:gd name="T59" fmla="*/ 166 h 191"/>
                <a:gd name="T60" fmla="*/ 71 w 290"/>
                <a:gd name="T61" fmla="*/ 160 h 191"/>
                <a:gd name="T62" fmla="*/ 42 w 290"/>
                <a:gd name="T63" fmla="*/ 151 h 191"/>
                <a:gd name="T64" fmla="*/ 23 w 290"/>
                <a:gd name="T65" fmla="*/ 137 h 191"/>
                <a:gd name="T66" fmla="*/ 23 w 290"/>
                <a:gd name="T67" fmla="*/ 134 h 191"/>
                <a:gd name="T68" fmla="*/ 25 w 290"/>
                <a:gd name="T69" fmla="*/ 101 h 191"/>
                <a:gd name="T70" fmla="*/ 25 w 290"/>
                <a:gd name="T71" fmla="*/ 99 h 191"/>
                <a:gd name="T72" fmla="*/ 31 w 290"/>
                <a:gd name="T73" fmla="*/ 69 h 191"/>
                <a:gd name="T74" fmla="*/ 48 w 290"/>
                <a:gd name="T75" fmla="*/ 44 h 191"/>
                <a:gd name="T76" fmla="*/ 75 w 290"/>
                <a:gd name="T77" fmla="*/ 27 h 191"/>
                <a:gd name="T78" fmla="*/ 105 w 290"/>
                <a:gd name="T79" fmla="*/ 21 h 191"/>
                <a:gd name="T80" fmla="*/ 187 w 290"/>
                <a:gd name="T81" fmla="*/ 19 h 191"/>
                <a:gd name="T82" fmla="*/ 202 w 290"/>
                <a:gd name="T83" fmla="*/ 21 h 191"/>
                <a:gd name="T84" fmla="*/ 231 w 290"/>
                <a:gd name="T85" fmla="*/ 33 h 191"/>
                <a:gd name="T86" fmla="*/ 252 w 290"/>
                <a:gd name="T87" fmla="*/ 54 h 191"/>
                <a:gd name="T88" fmla="*/ 265 w 290"/>
                <a:gd name="T89" fmla="*/ 82 h 191"/>
                <a:gd name="T90" fmla="*/ 265 w 290"/>
                <a:gd name="T91" fmla="*/ 99 h 191"/>
                <a:gd name="T92" fmla="*/ 269 w 290"/>
                <a:gd name="T93" fmla="*/ 122 h 191"/>
                <a:gd name="T94" fmla="*/ 269 w 290"/>
                <a:gd name="T95" fmla="*/ 137 h 191"/>
                <a:gd name="T96" fmla="*/ 269 w 290"/>
                <a:gd name="T97" fmla="*/ 137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191">
                  <a:moveTo>
                    <a:pt x="187" y="0"/>
                  </a:moveTo>
                  <a:lnTo>
                    <a:pt x="105" y="0"/>
                  </a:lnTo>
                  <a:lnTo>
                    <a:pt x="105" y="0"/>
                  </a:lnTo>
                  <a:lnTo>
                    <a:pt x="84" y="2"/>
                  </a:lnTo>
                  <a:lnTo>
                    <a:pt x="65" y="8"/>
                  </a:lnTo>
                  <a:lnTo>
                    <a:pt x="48" y="15"/>
                  </a:lnTo>
                  <a:lnTo>
                    <a:pt x="35" y="29"/>
                  </a:lnTo>
                  <a:lnTo>
                    <a:pt x="21" y="42"/>
                  </a:lnTo>
                  <a:lnTo>
                    <a:pt x="12" y="59"/>
                  </a:lnTo>
                  <a:lnTo>
                    <a:pt x="6" y="78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2" y="111"/>
                  </a:lnTo>
                  <a:lnTo>
                    <a:pt x="0" y="128"/>
                  </a:lnTo>
                  <a:lnTo>
                    <a:pt x="2" y="141"/>
                  </a:lnTo>
                  <a:lnTo>
                    <a:pt x="4" y="149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19" y="162"/>
                  </a:lnTo>
                  <a:lnTo>
                    <a:pt x="35" y="170"/>
                  </a:lnTo>
                  <a:lnTo>
                    <a:pt x="50" y="177"/>
                  </a:lnTo>
                  <a:lnTo>
                    <a:pt x="69" y="181"/>
                  </a:lnTo>
                  <a:lnTo>
                    <a:pt x="88" y="185"/>
                  </a:lnTo>
                  <a:lnTo>
                    <a:pt x="107" y="189"/>
                  </a:lnTo>
                  <a:lnTo>
                    <a:pt x="145" y="191"/>
                  </a:lnTo>
                  <a:lnTo>
                    <a:pt x="145" y="191"/>
                  </a:lnTo>
                  <a:lnTo>
                    <a:pt x="183" y="189"/>
                  </a:lnTo>
                  <a:lnTo>
                    <a:pt x="202" y="185"/>
                  </a:lnTo>
                  <a:lnTo>
                    <a:pt x="221" y="181"/>
                  </a:lnTo>
                  <a:lnTo>
                    <a:pt x="240" y="177"/>
                  </a:lnTo>
                  <a:lnTo>
                    <a:pt x="258" y="170"/>
                  </a:lnTo>
                  <a:lnTo>
                    <a:pt x="271" y="162"/>
                  </a:lnTo>
                  <a:lnTo>
                    <a:pt x="282" y="153"/>
                  </a:lnTo>
                  <a:lnTo>
                    <a:pt x="282" y="153"/>
                  </a:lnTo>
                  <a:lnTo>
                    <a:pt x="286" y="149"/>
                  </a:lnTo>
                  <a:lnTo>
                    <a:pt x="288" y="141"/>
                  </a:lnTo>
                  <a:lnTo>
                    <a:pt x="290" y="128"/>
                  </a:lnTo>
                  <a:lnTo>
                    <a:pt x="288" y="111"/>
                  </a:lnTo>
                  <a:lnTo>
                    <a:pt x="286" y="97"/>
                  </a:lnTo>
                  <a:lnTo>
                    <a:pt x="286" y="97"/>
                  </a:lnTo>
                  <a:lnTo>
                    <a:pt x="284" y="78"/>
                  </a:lnTo>
                  <a:lnTo>
                    <a:pt x="278" y="59"/>
                  </a:lnTo>
                  <a:lnTo>
                    <a:pt x="269" y="42"/>
                  </a:lnTo>
                  <a:lnTo>
                    <a:pt x="256" y="29"/>
                  </a:lnTo>
                  <a:lnTo>
                    <a:pt x="242" y="15"/>
                  </a:lnTo>
                  <a:lnTo>
                    <a:pt x="225" y="8"/>
                  </a:lnTo>
                  <a:lnTo>
                    <a:pt x="206" y="2"/>
                  </a:lnTo>
                  <a:lnTo>
                    <a:pt x="187" y="0"/>
                  </a:lnTo>
                  <a:lnTo>
                    <a:pt x="187" y="0"/>
                  </a:lnTo>
                  <a:close/>
                  <a:moveTo>
                    <a:pt x="269" y="137"/>
                  </a:moveTo>
                  <a:lnTo>
                    <a:pt x="269" y="137"/>
                  </a:lnTo>
                  <a:lnTo>
                    <a:pt x="261" y="143"/>
                  </a:lnTo>
                  <a:lnTo>
                    <a:pt x="250" y="151"/>
                  </a:lnTo>
                  <a:lnTo>
                    <a:pt x="237" y="154"/>
                  </a:lnTo>
                  <a:lnTo>
                    <a:pt x="221" y="160"/>
                  </a:lnTo>
                  <a:lnTo>
                    <a:pt x="204" y="164"/>
                  </a:lnTo>
                  <a:lnTo>
                    <a:pt x="187" y="166"/>
                  </a:lnTo>
                  <a:lnTo>
                    <a:pt x="147" y="168"/>
                  </a:lnTo>
                  <a:lnTo>
                    <a:pt x="147" y="168"/>
                  </a:lnTo>
                  <a:lnTo>
                    <a:pt x="105" y="166"/>
                  </a:lnTo>
                  <a:lnTo>
                    <a:pt x="88" y="164"/>
                  </a:lnTo>
                  <a:lnTo>
                    <a:pt x="71" y="160"/>
                  </a:lnTo>
                  <a:lnTo>
                    <a:pt x="56" y="156"/>
                  </a:lnTo>
                  <a:lnTo>
                    <a:pt x="42" y="151"/>
                  </a:lnTo>
                  <a:lnTo>
                    <a:pt x="31" y="145"/>
                  </a:lnTo>
                  <a:lnTo>
                    <a:pt x="23" y="137"/>
                  </a:lnTo>
                  <a:lnTo>
                    <a:pt x="23" y="137"/>
                  </a:lnTo>
                  <a:lnTo>
                    <a:pt x="23" y="134"/>
                  </a:lnTo>
                  <a:lnTo>
                    <a:pt x="23" y="124"/>
                  </a:lnTo>
                  <a:lnTo>
                    <a:pt x="25" y="101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7" y="82"/>
                  </a:lnTo>
                  <a:lnTo>
                    <a:pt x="31" y="69"/>
                  </a:lnTo>
                  <a:lnTo>
                    <a:pt x="38" y="55"/>
                  </a:lnTo>
                  <a:lnTo>
                    <a:pt x="48" y="44"/>
                  </a:lnTo>
                  <a:lnTo>
                    <a:pt x="59" y="34"/>
                  </a:lnTo>
                  <a:lnTo>
                    <a:pt x="75" y="27"/>
                  </a:lnTo>
                  <a:lnTo>
                    <a:pt x="88" y="21"/>
                  </a:lnTo>
                  <a:lnTo>
                    <a:pt x="105" y="21"/>
                  </a:lnTo>
                  <a:lnTo>
                    <a:pt x="105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202" y="21"/>
                  </a:lnTo>
                  <a:lnTo>
                    <a:pt x="218" y="25"/>
                  </a:lnTo>
                  <a:lnTo>
                    <a:pt x="231" y="33"/>
                  </a:lnTo>
                  <a:lnTo>
                    <a:pt x="242" y="42"/>
                  </a:lnTo>
                  <a:lnTo>
                    <a:pt x="252" y="54"/>
                  </a:lnTo>
                  <a:lnTo>
                    <a:pt x="259" y="67"/>
                  </a:lnTo>
                  <a:lnTo>
                    <a:pt x="265" y="82"/>
                  </a:lnTo>
                  <a:lnTo>
                    <a:pt x="265" y="97"/>
                  </a:lnTo>
                  <a:lnTo>
                    <a:pt x="265" y="99"/>
                  </a:lnTo>
                  <a:lnTo>
                    <a:pt x="265" y="99"/>
                  </a:lnTo>
                  <a:lnTo>
                    <a:pt x="269" y="122"/>
                  </a:lnTo>
                  <a:lnTo>
                    <a:pt x="271" y="132"/>
                  </a:lnTo>
                  <a:lnTo>
                    <a:pt x="269" y="137"/>
                  </a:lnTo>
                  <a:lnTo>
                    <a:pt x="269" y="137"/>
                  </a:lnTo>
                  <a:close/>
                  <a:moveTo>
                    <a:pt x="269" y="137"/>
                  </a:moveTo>
                  <a:lnTo>
                    <a:pt x="269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5" name="Line 81"/>
            <p:cNvSpPr>
              <a:spLocks noChangeShapeType="1"/>
            </p:cNvSpPr>
            <p:nvPr/>
          </p:nvSpPr>
          <p:spPr bwMode="auto">
            <a:xfrm>
              <a:off x="4558669" y="199650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6" name="Freeform 82"/>
            <p:cNvSpPr>
              <a:spLocks noEditPoints="1"/>
            </p:cNvSpPr>
            <p:nvPr/>
          </p:nvSpPr>
          <p:spPr bwMode="auto">
            <a:xfrm>
              <a:off x="4344494" y="1668941"/>
              <a:ext cx="167981" cy="170081"/>
            </a:xfrm>
            <a:custGeom>
              <a:avLst/>
              <a:gdLst>
                <a:gd name="T0" fmla="*/ 80 w 160"/>
                <a:gd name="T1" fmla="*/ 162 h 162"/>
                <a:gd name="T2" fmla="*/ 113 w 160"/>
                <a:gd name="T3" fmla="*/ 156 h 162"/>
                <a:gd name="T4" fmla="*/ 137 w 160"/>
                <a:gd name="T5" fmla="*/ 139 h 162"/>
                <a:gd name="T6" fmla="*/ 154 w 160"/>
                <a:gd name="T7" fmla="*/ 112 h 162"/>
                <a:gd name="T8" fmla="*/ 160 w 160"/>
                <a:gd name="T9" fmla="*/ 82 h 162"/>
                <a:gd name="T10" fmla="*/ 160 w 160"/>
                <a:gd name="T11" fmla="*/ 65 h 162"/>
                <a:gd name="T12" fmla="*/ 147 w 160"/>
                <a:gd name="T13" fmla="*/ 36 h 162"/>
                <a:gd name="T14" fmla="*/ 126 w 160"/>
                <a:gd name="T15" fmla="*/ 15 h 162"/>
                <a:gd name="T16" fmla="*/ 97 w 160"/>
                <a:gd name="T17" fmla="*/ 2 h 162"/>
                <a:gd name="T18" fmla="*/ 80 w 160"/>
                <a:gd name="T19" fmla="*/ 0 h 162"/>
                <a:gd name="T20" fmla="*/ 50 w 160"/>
                <a:gd name="T21" fmla="*/ 8 h 162"/>
                <a:gd name="T22" fmla="*/ 23 w 160"/>
                <a:gd name="T23" fmla="*/ 25 h 162"/>
                <a:gd name="T24" fmla="*/ 6 w 160"/>
                <a:gd name="T25" fmla="*/ 49 h 162"/>
                <a:gd name="T26" fmla="*/ 0 w 160"/>
                <a:gd name="T27" fmla="*/ 82 h 162"/>
                <a:gd name="T28" fmla="*/ 0 w 160"/>
                <a:gd name="T29" fmla="*/ 97 h 162"/>
                <a:gd name="T30" fmla="*/ 13 w 160"/>
                <a:gd name="T31" fmla="*/ 126 h 162"/>
                <a:gd name="T32" fmla="*/ 34 w 160"/>
                <a:gd name="T33" fmla="*/ 149 h 162"/>
                <a:gd name="T34" fmla="*/ 63 w 160"/>
                <a:gd name="T35" fmla="*/ 160 h 162"/>
                <a:gd name="T36" fmla="*/ 80 w 160"/>
                <a:gd name="T37" fmla="*/ 162 h 162"/>
                <a:gd name="T38" fmla="*/ 80 w 160"/>
                <a:gd name="T39" fmla="*/ 21 h 162"/>
                <a:gd name="T40" fmla="*/ 103 w 160"/>
                <a:gd name="T41" fmla="*/ 27 h 162"/>
                <a:gd name="T42" fmla="*/ 122 w 160"/>
                <a:gd name="T43" fmla="*/ 40 h 162"/>
                <a:gd name="T44" fmla="*/ 135 w 160"/>
                <a:gd name="T45" fmla="*/ 59 h 162"/>
                <a:gd name="T46" fmla="*/ 141 w 160"/>
                <a:gd name="T47" fmla="*/ 82 h 162"/>
                <a:gd name="T48" fmla="*/ 139 w 160"/>
                <a:gd name="T49" fmla="*/ 93 h 162"/>
                <a:gd name="T50" fmla="*/ 130 w 160"/>
                <a:gd name="T51" fmla="*/ 114 h 162"/>
                <a:gd name="T52" fmla="*/ 114 w 160"/>
                <a:gd name="T53" fmla="*/ 131 h 162"/>
                <a:gd name="T54" fmla="*/ 92 w 160"/>
                <a:gd name="T55" fmla="*/ 139 h 162"/>
                <a:gd name="T56" fmla="*/ 80 w 160"/>
                <a:gd name="T57" fmla="*/ 141 h 162"/>
                <a:gd name="T58" fmla="*/ 57 w 160"/>
                <a:gd name="T59" fmla="*/ 137 h 162"/>
                <a:gd name="T60" fmla="*/ 38 w 160"/>
                <a:gd name="T61" fmla="*/ 124 h 162"/>
                <a:gd name="T62" fmla="*/ 25 w 160"/>
                <a:gd name="T63" fmla="*/ 105 h 162"/>
                <a:gd name="T64" fmla="*/ 19 w 160"/>
                <a:gd name="T65" fmla="*/ 82 h 162"/>
                <a:gd name="T66" fmla="*/ 21 w 160"/>
                <a:gd name="T67" fmla="*/ 69 h 162"/>
                <a:gd name="T68" fmla="*/ 31 w 160"/>
                <a:gd name="T69" fmla="*/ 48 h 162"/>
                <a:gd name="T70" fmla="*/ 46 w 160"/>
                <a:gd name="T71" fmla="*/ 32 h 162"/>
                <a:gd name="T72" fmla="*/ 69 w 160"/>
                <a:gd name="T73" fmla="*/ 23 h 162"/>
                <a:gd name="T74" fmla="*/ 80 w 160"/>
                <a:gd name="T75" fmla="*/ 21 h 162"/>
                <a:gd name="T76" fmla="*/ 80 w 160"/>
                <a:gd name="T77" fmla="*/ 2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0" h="162">
                  <a:moveTo>
                    <a:pt x="80" y="162"/>
                  </a:moveTo>
                  <a:lnTo>
                    <a:pt x="80" y="162"/>
                  </a:lnTo>
                  <a:lnTo>
                    <a:pt x="97" y="160"/>
                  </a:lnTo>
                  <a:lnTo>
                    <a:pt x="113" y="156"/>
                  </a:lnTo>
                  <a:lnTo>
                    <a:pt x="126" y="149"/>
                  </a:lnTo>
                  <a:lnTo>
                    <a:pt x="137" y="139"/>
                  </a:lnTo>
                  <a:lnTo>
                    <a:pt x="147" y="126"/>
                  </a:lnTo>
                  <a:lnTo>
                    <a:pt x="154" y="112"/>
                  </a:lnTo>
                  <a:lnTo>
                    <a:pt x="160" y="97"/>
                  </a:lnTo>
                  <a:lnTo>
                    <a:pt x="160" y="82"/>
                  </a:lnTo>
                  <a:lnTo>
                    <a:pt x="160" y="82"/>
                  </a:lnTo>
                  <a:lnTo>
                    <a:pt x="160" y="65"/>
                  </a:lnTo>
                  <a:lnTo>
                    <a:pt x="154" y="49"/>
                  </a:lnTo>
                  <a:lnTo>
                    <a:pt x="147" y="36"/>
                  </a:lnTo>
                  <a:lnTo>
                    <a:pt x="137" y="25"/>
                  </a:lnTo>
                  <a:lnTo>
                    <a:pt x="126" y="15"/>
                  </a:lnTo>
                  <a:lnTo>
                    <a:pt x="113" y="8"/>
                  </a:lnTo>
                  <a:lnTo>
                    <a:pt x="97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65" y="2"/>
                  </a:lnTo>
                  <a:lnTo>
                    <a:pt x="50" y="8"/>
                  </a:lnTo>
                  <a:lnTo>
                    <a:pt x="34" y="15"/>
                  </a:lnTo>
                  <a:lnTo>
                    <a:pt x="23" y="25"/>
                  </a:lnTo>
                  <a:lnTo>
                    <a:pt x="13" y="36"/>
                  </a:lnTo>
                  <a:lnTo>
                    <a:pt x="6" y="49"/>
                  </a:lnTo>
                  <a:lnTo>
                    <a:pt x="0" y="65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97"/>
                  </a:lnTo>
                  <a:lnTo>
                    <a:pt x="6" y="112"/>
                  </a:lnTo>
                  <a:lnTo>
                    <a:pt x="13" y="126"/>
                  </a:lnTo>
                  <a:lnTo>
                    <a:pt x="23" y="139"/>
                  </a:lnTo>
                  <a:lnTo>
                    <a:pt x="34" y="149"/>
                  </a:lnTo>
                  <a:lnTo>
                    <a:pt x="48" y="156"/>
                  </a:lnTo>
                  <a:lnTo>
                    <a:pt x="63" y="160"/>
                  </a:lnTo>
                  <a:lnTo>
                    <a:pt x="80" y="162"/>
                  </a:lnTo>
                  <a:lnTo>
                    <a:pt x="80" y="162"/>
                  </a:lnTo>
                  <a:close/>
                  <a:moveTo>
                    <a:pt x="80" y="21"/>
                  </a:moveTo>
                  <a:lnTo>
                    <a:pt x="80" y="21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14" y="32"/>
                  </a:lnTo>
                  <a:lnTo>
                    <a:pt x="122" y="40"/>
                  </a:lnTo>
                  <a:lnTo>
                    <a:pt x="130" y="48"/>
                  </a:lnTo>
                  <a:lnTo>
                    <a:pt x="135" y="59"/>
                  </a:lnTo>
                  <a:lnTo>
                    <a:pt x="139" y="69"/>
                  </a:lnTo>
                  <a:lnTo>
                    <a:pt x="141" y="82"/>
                  </a:lnTo>
                  <a:lnTo>
                    <a:pt x="141" y="82"/>
                  </a:lnTo>
                  <a:lnTo>
                    <a:pt x="139" y="93"/>
                  </a:lnTo>
                  <a:lnTo>
                    <a:pt x="135" y="105"/>
                  </a:lnTo>
                  <a:lnTo>
                    <a:pt x="130" y="114"/>
                  </a:lnTo>
                  <a:lnTo>
                    <a:pt x="122" y="124"/>
                  </a:lnTo>
                  <a:lnTo>
                    <a:pt x="114" y="131"/>
                  </a:lnTo>
                  <a:lnTo>
                    <a:pt x="103" y="137"/>
                  </a:lnTo>
                  <a:lnTo>
                    <a:pt x="92" y="139"/>
                  </a:lnTo>
                  <a:lnTo>
                    <a:pt x="80" y="141"/>
                  </a:lnTo>
                  <a:lnTo>
                    <a:pt x="80" y="141"/>
                  </a:lnTo>
                  <a:lnTo>
                    <a:pt x="69" y="139"/>
                  </a:lnTo>
                  <a:lnTo>
                    <a:pt x="57" y="137"/>
                  </a:lnTo>
                  <a:lnTo>
                    <a:pt x="46" y="131"/>
                  </a:lnTo>
                  <a:lnTo>
                    <a:pt x="38" y="124"/>
                  </a:lnTo>
                  <a:lnTo>
                    <a:pt x="31" y="114"/>
                  </a:lnTo>
                  <a:lnTo>
                    <a:pt x="25" y="105"/>
                  </a:lnTo>
                  <a:lnTo>
                    <a:pt x="21" y="93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21" y="69"/>
                  </a:lnTo>
                  <a:lnTo>
                    <a:pt x="25" y="59"/>
                  </a:lnTo>
                  <a:lnTo>
                    <a:pt x="31" y="48"/>
                  </a:lnTo>
                  <a:lnTo>
                    <a:pt x="38" y="40"/>
                  </a:lnTo>
                  <a:lnTo>
                    <a:pt x="46" y="32"/>
                  </a:lnTo>
                  <a:lnTo>
                    <a:pt x="57" y="27"/>
                  </a:lnTo>
                  <a:lnTo>
                    <a:pt x="69" y="23"/>
                  </a:lnTo>
                  <a:lnTo>
                    <a:pt x="80" y="21"/>
                  </a:lnTo>
                  <a:lnTo>
                    <a:pt x="80" y="21"/>
                  </a:lnTo>
                  <a:close/>
                  <a:moveTo>
                    <a:pt x="80" y="21"/>
                  </a:moveTo>
                  <a:lnTo>
                    <a:pt x="8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Line 85"/>
            <p:cNvSpPr>
              <a:spLocks noChangeShapeType="1"/>
            </p:cNvSpPr>
            <p:nvPr/>
          </p:nvSpPr>
          <p:spPr bwMode="auto">
            <a:xfrm>
              <a:off x="4428484" y="169098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86"/>
            <p:cNvSpPr>
              <a:spLocks noEditPoints="1"/>
            </p:cNvSpPr>
            <p:nvPr/>
          </p:nvSpPr>
          <p:spPr bwMode="auto">
            <a:xfrm>
              <a:off x="4379140" y="1520908"/>
              <a:ext cx="99739" cy="128086"/>
            </a:xfrm>
            <a:custGeom>
              <a:avLst/>
              <a:gdLst>
                <a:gd name="T0" fmla="*/ 36 w 95"/>
                <a:gd name="T1" fmla="*/ 40 h 122"/>
                <a:gd name="T2" fmla="*/ 36 w 95"/>
                <a:gd name="T3" fmla="*/ 122 h 122"/>
                <a:gd name="T4" fmla="*/ 57 w 95"/>
                <a:gd name="T5" fmla="*/ 122 h 122"/>
                <a:gd name="T6" fmla="*/ 57 w 95"/>
                <a:gd name="T7" fmla="*/ 38 h 122"/>
                <a:gd name="T8" fmla="*/ 81 w 95"/>
                <a:gd name="T9" fmla="*/ 61 h 122"/>
                <a:gd name="T10" fmla="*/ 95 w 95"/>
                <a:gd name="T11" fmla="*/ 48 h 122"/>
                <a:gd name="T12" fmla="*/ 47 w 95"/>
                <a:gd name="T13" fmla="*/ 0 h 122"/>
                <a:gd name="T14" fmla="*/ 0 w 95"/>
                <a:gd name="T15" fmla="*/ 48 h 122"/>
                <a:gd name="T16" fmla="*/ 15 w 95"/>
                <a:gd name="T17" fmla="*/ 61 h 122"/>
                <a:gd name="T18" fmla="*/ 36 w 95"/>
                <a:gd name="T19" fmla="*/ 40 h 122"/>
                <a:gd name="T20" fmla="*/ 36 w 95"/>
                <a:gd name="T21" fmla="*/ 40 h 122"/>
                <a:gd name="T22" fmla="*/ 36 w 95"/>
                <a:gd name="T23" fmla="*/ 4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122">
                  <a:moveTo>
                    <a:pt x="36" y="40"/>
                  </a:moveTo>
                  <a:lnTo>
                    <a:pt x="36" y="122"/>
                  </a:lnTo>
                  <a:lnTo>
                    <a:pt x="57" y="122"/>
                  </a:lnTo>
                  <a:lnTo>
                    <a:pt x="57" y="38"/>
                  </a:lnTo>
                  <a:lnTo>
                    <a:pt x="81" y="61"/>
                  </a:lnTo>
                  <a:lnTo>
                    <a:pt x="95" y="48"/>
                  </a:lnTo>
                  <a:lnTo>
                    <a:pt x="47" y="0"/>
                  </a:lnTo>
                  <a:lnTo>
                    <a:pt x="0" y="48"/>
                  </a:lnTo>
                  <a:lnTo>
                    <a:pt x="15" y="61"/>
                  </a:lnTo>
                  <a:lnTo>
                    <a:pt x="36" y="40"/>
                  </a:lnTo>
                  <a:close/>
                  <a:moveTo>
                    <a:pt x="36" y="40"/>
                  </a:moveTo>
                  <a:lnTo>
                    <a:pt x="3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7"/>
            <p:cNvSpPr>
              <a:spLocks/>
            </p:cNvSpPr>
            <p:nvPr/>
          </p:nvSpPr>
          <p:spPr bwMode="auto">
            <a:xfrm>
              <a:off x="4379140" y="1520908"/>
              <a:ext cx="99739" cy="128086"/>
            </a:xfrm>
            <a:custGeom>
              <a:avLst/>
              <a:gdLst>
                <a:gd name="T0" fmla="*/ 36 w 95"/>
                <a:gd name="T1" fmla="*/ 40 h 122"/>
                <a:gd name="T2" fmla="*/ 36 w 95"/>
                <a:gd name="T3" fmla="*/ 122 h 122"/>
                <a:gd name="T4" fmla="*/ 57 w 95"/>
                <a:gd name="T5" fmla="*/ 122 h 122"/>
                <a:gd name="T6" fmla="*/ 57 w 95"/>
                <a:gd name="T7" fmla="*/ 38 h 122"/>
                <a:gd name="T8" fmla="*/ 81 w 95"/>
                <a:gd name="T9" fmla="*/ 61 h 122"/>
                <a:gd name="T10" fmla="*/ 95 w 95"/>
                <a:gd name="T11" fmla="*/ 48 h 122"/>
                <a:gd name="T12" fmla="*/ 47 w 95"/>
                <a:gd name="T13" fmla="*/ 0 h 122"/>
                <a:gd name="T14" fmla="*/ 0 w 95"/>
                <a:gd name="T15" fmla="*/ 48 h 122"/>
                <a:gd name="T16" fmla="*/ 15 w 95"/>
                <a:gd name="T17" fmla="*/ 61 h 122"/>
                <a:gd name="T18" fmla="*/ 36 w 95"/>
                <a:gd name="T19" fmla="*/ 4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122">
                  <a:moveTo>
                    <a:pt x="36" y="40"/>
                  </a:moveTo>
                  <a:lnTo>
                    <a:pt x="36" y="122"/>
                  </a:lnTo>
                  <a:lnTo>
                    <a:pt x="57" y="122"/>
                  </a:lnTo>
                  <a:lnTo>
                    <a:pt x="57" y="38"/>
                  </a:lnTo>
                  <a:lnTo>
                    <a:pt x="81" y="61"/>
                  </a:lnTo>
                  <a:lnTo>
                    <a:pt x="95" y="48"/>
                  </a:lnTo>
                  <a:lnTo>
                    <a:pt x="47" y="0"/>
                  </a:lnTo>
                  <a:lnTo>
                    <a:pt x="0" y="48"/>
                  </a:lnTo>
                  <a:lnTo>
                    <a:pt x="15" y="61"/>
                  </a:lnTo>
                  <a:lnTo>
                    <a:pt x="36" y="4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Line 88"/>
            <p:cNvSpPr>
              <a:spLocks noChangeShapeType="1"/>
            </p:cNvSpPr>
            <p:nvPr/>
          </p:nvSpPr>
          <p:spPr bwMode="auto">
            <a:xfrm>
              <a:off x="4416935" y="156290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89"/>
            <p:cNvSpPr>
              <a:spLocks noEditPoints="1"/>
            </p:cNvSpPr>
            <p:nvPr/>
          </p:nvSpPr>
          <p:spPr bwMode="auto">
            <a:xfrm>
              <a:off x="4162864" y="1682590"/>
              <a:ext cx="130185" cy="98689"/>
            </a:xfrm>
            <a:custGeom>
              <a:avLst/>
              <a:gdLst>
                <a:gd name="T0" fmla="*/ 124 w 124"/>
                <a:gd name="T1" fmla="*/ 57 h 94"/>
                <a:gd name="T2" fmla="*/ 124 w 124"/>
                <a:gd name="T3" fmla="*/ 36 h 94"/>
                <a:gd name="T4" fmla="*/ 40 w 124"/>
                <a:gd name="T5" fmla="*/ 36 h 94"/>
                <a:gd name="T6" fmla="*/ 63 w 124"/>
                <a:gd name="T7" fmla="*/ 14 h 94"/>
                <a:gd name="T8" fmla="*/ 47 w 124"/>
                <a:gd name="T9" fmla="*/ 0 h 94"/>
                <a:gd name="T10" fmla="*/ 0 w 124"/>
                <a:gd name="T11" fmla="*/ 46 h 94"/>
                <a:gd name="T12" fmla="*/ 47 w 124"/>
                <a:gd name="T13" fmla="*/ 94 h 94"/>
                <a:gd name="T14" fmla="*/ 63 w 124"/>
                <a:gd name="T15" fmla="*/ 78 h 94"/>
                <a:gd name="T16" fmla="*/ 40 w 124"/>
                <a:gd name="T17" fmla="*/ 57 h 94"/>
                <a:gd name="T18" fmla="*/ 124 w 124"/>
                <a:gd name="T19" fmla="*/ 57 h 94"/>
                <a:gd name="T20" fmla="*/ 124 w 124"/>
                <a:gd name="T21" fmla="*/ 57 h 94"/>
                <a:gd name="T22" fmla="*/ 124 w 124"/>
                <a:gd name="T23" fmla="*/ 5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94">
                  <a:moveTo>
                    <a:pt x="124" y="57"/>
                  </a:moveTo>
                  <a:lnTo>
                    <a:pt x="124" y="36"/>
                  </a:lnTo>
                  <a:lnTo>
                    <a:pt x="40" y="36"/>
                  </a:lnTo>
                  <a:lnTo>
                    <a:pt x="63" y="14"/>
                  </a:lnTo>
                  <a:lnTo>
                    <a:pt x="47" y="0"/>
                  </a:lnTo>
                  <a:lnTo>
                    <a:pt x="0" y="46"/>
                  </a:lnTo>
                  <a:lnTo>
                    <a:pt x="47" y="94"/>
                  </a:lnTo>
                  <a:lnTo>
                    <a:pt x="63" y="78"/>
                  </a:lnTo>
                  <a:lnTo>
                    <a:pt x="40" y="57"/>
                  </a:lnTo>
                  <a:lnTo>
                    <a:pt x="124" y="57"/>
                  </a:lnTo>
                  <a:close/>
                  <a:moveTo>
                    <a:pt x="124" y="57"/>
                  </a:moveTo>
                  <a:lnTo>
                    <a:pt x="124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90"/>
            <p:cNvSpPr>
              <a:spLocks/>
            </p:cNvSpPr>
            <p:nvPr/>
          </p:nvSpPr>
          <p:spPr bwMode="auto">
            <a:xfrm>
              <a:off x="4162864" y="1682590"/>
              <a:ext cx="130185" cy="98689"/>
            </a:xfrm>
            <a:custGeom>
              <a:avLst/>
              <a:gdLst>
                <a:gd name="T0" fmla="*/ 124 w 124"/>
                <a:gd name="T1" fmla="*/ 57 h 94"/>
                <a:gd name="T2" fmla="*/ 124 w 124"/>
                <a:gd name="T3" fmla="*/ 36 h 94"/>
                <a:gd name="T4" fmla="*/ 40 w 124"/>
                <a:gd name="T5" fmla="*/ 36 h 94"/>
                <a:gd name="T6" fmla="*/ 63 w 124"/>
                <a:gd name="T7" fmla="*/ 14 h 94"/>
                <a:gd name="T8" fmla="*/ 47 w 124"/>
                <a:gd name="T9" fmla="*/ 0 h 94"/>
                <a:gd name="T10" fmla="*/ 0 w 124"/>
                <a:gd name="T11" fmla="*/ 46 h 94"/>
                <a:gd name="T12" fmla="*/ 47 w 124"/>
                <a:gd name="T13" fmla="*/ 94 h 94"/>
                <a:gd name="T14" fmla="*/ 63 w 124"/>
                <a:gd name="T15" fmla="*/ 78 h 94"/>
                <a:gd name="T16" fmla="*/ 40 w 124"/>
                <a:gd name="T17" fmla="*/ 57 h 94"/>
                <a:gd name="T18" fmla="*/ 124 w 124"/>
                <a:gd name="T19" fmla="*/ 5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94">
                  <a:moveTo>
                    <a:pt x="124" y="57"/>
                  </a:moveTo>
                  <a:lnTo>
                    <a:pt x="124" y="36"/>
                  </a:lnTo>
                  <a:lnTo>
                    <a:pt x="40" y="36"/>
                  </a:lnTo>
                  <a:lnTo>
                    <a:pt x="63" y="14"/>
                  </a:lnTo>
                  <a:lnTo>
                    <a:pt x="47" y="0"/>
                  </a:lnTo>
                  <a:lnTo>
                    <a:pt x="0" y="46"/>
                  </a:lnTo>
                  <a:lnTo>
                    <a:pt x="47" y="94"/>
                  </a:lnTo>
                  <a:lnTo>
                    <a:pt x="63" y="78"/>
                  </a:lnTo>
                  <a:lnTo>
                    <a:pt x="40" y="57"/>
                  </a:lnTo>
                  <a:lnTo>
                    <a:pt x="124" y="5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Line 91"/>
            <p:cNvSpPr>
              <a:spLocks noChangeShapeType="1"/>
            </p:cNvSpPr>
            <p:nvPr/>
          </p:nvSpPr>
          <p:spPr bwMode="auto">
            <a:xfrm>
              <a:off x="4293049" y="174243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92"/>
            <p:cNvSpPr>
              <a:spLocks noEditPoints="1"/>
            </p:cNvSpPr>
            <p:nvPr/>
          </p:nvSpPr>
          <p:spPr bwMode="auto">
            <a:xfrm>
              <a:off x="4564969" y="1682590"/>
              <a:ext cx="129135" cy="98689"/>
            </a:xfrm>
            <a:custGeom>
              <a:avLst/>
              <a:gdLst>
                <a:gd name="T0" fmla="*/ 76 w 123"/>
                <a:gd name="T1" fmla="*/ 0 h 94"/>
                <a:gd name="T2" fmla="*/ 61 w 123"/>
                <a:gd name="T3" fmla="*/ 14 h 94"/>
                <a:gd name="T4" fmla="*/ 83 w 123"/>
                <a:gd name="T5" fmla="*/ 36 h 94"/>
                <a:gd name="T6" fmla="*/ 0 w 123"/>
                <a:gd name="T7" fmla="*/ 36 h 94"/>
                <a:gd name="T8" fmla="*/ 0 w 123"/>
                <a:gd name="T9" fmla="*/ 57 h 94"/>
                <a:gd name="T10" fmla="*/ 83 w 123"/>
                <a:gd name="T11" fmla="*/ 57 h 94"/>
                <a:gd name="T12" fmla="*/ 61 w 123"/>
                <a:gd name="T13" fmla="*/ 78 h 94"/>
                <a:gd name="T14" fmla="*/ 76 w 123"/>
                <a:gd name="T15" fmla="*/ 94 h 94"/>
                <a:gd name="T16" fmla="*/ 123 w 123"/>
                <a:gd name="T17" fmla="*/ 46 h 94"/>
                <a:gd name="T18" fmla="*/ 76 w 123"/>
                <a:gd name="T19" fmla="*/ 0 h 94"/>
                <a:gd name="T20" fmla="*/ 76 w 123"/>
                <a:gd name="T21" fmla="*/ 0 h 94"/>
                <a:gd name="T22" fmla="*/ 76 w 123"/>
                <a:gd name="T2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" h="94">
                  <a:moveTo>
                    <a:pt x="76" y="0"/>
                  </a:moveTo>
                  <a:lnTo>
                    <a:pt x="61" y="14"/>
                  </a:lnTo>
                  <a:lnTo>
                    <a:pt x="83" y="36"/>
                  </a:lnTo>
                  <a:lnTo>
                    <a:pt x="0" y="36"/>
                  </a:lnTo>
                  <a:lnTo>
                    <a:pt x="0" y="57"/>
                  </a:lnTo>
                  <a:lnTo>
                    <a:pt x="83" y="57"/>
                  </a:lnTo>
                  <a:lnTo>
                    <a:pt x="61" y="78"/>
                  </a:lnTo>
                  <a:lnTo>
                    <a:pt x="76" y="94"/>
                  </a:lnTo>
                  <a:lnTo>
                    <a:pt x="123" y="46"/>
                  </a:lnTo>
                  <a:lnTo>
                    <a:pt x="76" y="0"/>
                  </a:lnTo>
                  <a:close/>
                  <a:moveTo>
                    <a:pt x="76" y="0"/>
                  </a:move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93"/>
            <p:cNvSpPr>
              <a:spLocks/>
            </p:cNvSpPr>
            <p:nvPr/>
          </p:nvSpPr>
          <p:spPr bwMode="auto">
            <a:xfrm>
              <a:off x="4564969" y="1682590"/>
              <a:ext cx="129135" cy="98689"/>
            </a:xfrm>
            <a:custGeom>
              <a:avLst/>
              <a:gdLst>
                <a:gd name="T0" fmla="*/ 76 w 123"/>
                <a:gd name="T1" fmla="*/ 0 h 94"/>
                <a:gd name="T2" fmla="*/ 61 w 123"/>
                <a:gd name="T3" fmla="*/ 14 h 94"/>
                <a:gd name="T4" fmla="*/ 83 w 123"/>
                <a:gd name="T5" fmla="*/ 36 h 94"/>
                <a:gd name="T6" fmla="*/ 0 w 123"/>
                <a:gd name="T7" fmla="*/ 36 h 94"/>
                <a:gd name="T8" fmla="*/ 0 w 123"/>
                <a:gd name="T9" fmla="*/ 57 h 94"/>
                <a:gd name="T10" fmla="*/ 83 w 123"/>
                <a:gd name="T11" fmla="*/ 57 h 94"/>
                <a:gd name="T12" fmla="*/ 61 w 123"/>
                <a:gd name="T13" fmla="*/ 78 h 94"/>
                <a:gd name="T14" fmla="*/ 76 w 123"/>
                <a:gd name="T15" fmla="*/ 94 h 94"/>
                <a:gd name="T16" fmla="*/ 123 w 123"/>
                <a:gd name="T17" fmla="*/ 46 h 94"/>
                <a:gd name="T18" fmla="*/ 76 w 123"/>
                <a:gd name="T1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94">
                  <a:moveTo>
                    <a:pt x="76" y="0"/>
                  </a:moveTo>
                  <a:lnTo>
                    <a:pt x="61" y="14"/>
                  </a:lnTo>
                  <a:lnTo>
                    <a:pt x="83" y="36"/>
                  </a:lnTo>
                  <a:lnTo>
                    <a:pt x="0" y="36"/>
                  </a:lnTo>
                  <a:lnTo>
                    <a:pt x="0" y="57"/>
                  </a:lnTo>
                  <a:lnTo>
                    <a:pt x="83" y="57"/>
                  </a:lnTo>
                  <a:lnTo>
                    <a:pt x="61" y="78"/>
                  </a:lnTo>
                  <a:lnTo>
                    <a:pt x="76" y="94"/>
                  </a:lnTo>
                  <a:lnTo>
                    <a:pt x="123" y="46"/>
                  </a:lnTo>
                  <a:lnTo>
                    <a:pt x="76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Line 94"/>
            <p:cNvSpPr>
              <a:spLocks noChangeShapeType="1"/>
            </p:cNvSpPr>
            <p:nvPr/>
          </p:nvSpPr>
          <p:spPr bwMode="auto">
            <a:xfrm>
              <a:off x="4644760" y="168259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229969" y="1665982"/>
            <a:ext cx="963122" cy="960490"/>
            <a:chOff x="5142403" y="1589150"/>
            <a:chExt cx="384257" cy="383207"/>
          </a:xfrm>
          <a:solidFill>
            <a:srgbClr val="0065BD"/>
          </a:solidFill>
        </p:grpSpPr>
        <p:sp>
          <p:nvSpPr>
            <p:cNvPr id="30" name="Freeform 95"/>
            <p:cNvSpPr>
              <a:spLocks noEditPoints="1"/>
            </p:cNvSpPr>
            <p:nvPr/>
          </p:nvSpPr>
          <p:spPr bwMode="auto">
            <a:xfrm>
              <a:off x="5286237" y="1684689"/>
              <a:ext cx="162732" cy="14698"/>
            </a:xfrm>
            <a:custGeom>
              <a:avLst/>
              <a:gdLst>
                <a:gd name="T0" fmla="*/ 6 w 155"/>
                <a:gd name="T1" fmla="*/ 14 h 14"/>
                <a:gd name="T2" fmla="*/ 149 w 155"/>
                <a:gd name="T3" fmla="*/ 14 h 14"/>
                <a:gd name="T4" fmla="*/ 149 w 155"/>
                <a:gd name="T5" fmla="*/ 14 h 14"/>
                <a:gd name="T6" fmla="*/ 153 w 155"/>
                <a:gd name="T7" fmla="*/ 12 h 14"/>
                <a:gd name="T8" fmla="*/ 155 w 155"/>
                <a:gd name="T9" fmla="*/ 8 h 14"/>
                <a:gd name="T10" fmla="*/ 155 w 155"/>
                <a:gd name="T11" fmla="*/ 8 h 14"/>
                <a:gd name="T12" fmla="*/ 153 w 155"/>
                <a:gd name="T13" fmla="*/ 2 h 14"/>
                <a:gd name="T14" fmla="*/ 149 w 155"/>
                <a:gd name="T15" fmla="*/ 0 h 14"/>
                <a:gd name="T16" fmla="*/ 6 w 155"/>
                <a:gd name="T17" fmla="*/ 0 h 14"/>
                <a:gd name="T18" fmla="*/ 6 w 155"/>
                <a:gd name="T19" fmla="*/ 0 h 14"/>
                <a:gd name="T20" fmla="*/ 2 w 155"/>
                <a:gd name="T21" fmla="*/ 2 h 14"/>
                <a:gd name="T22" fmla="*/ 0 w 155"/>
                <a:gd name="T23" fmla="*/ 8 h 14"/>
                <a:gd name="T24" fmla="*/ 0 w 155"/>
                <a:gd name="T25" fmla="*/ 8 h 14"/>
                <a:gd name="T26" fmla="*/ 2 w 155"/>
                <a:gd name="T27" fmla="*/ 12 h 14"/>
                <a:gd name="T28" fmla="*/ 6 w 155"/>
                <a:gd name="T29" fmla="*/ 14 h 14"/>
                <a:gd name="T30" fmla="*/ 6 w 155"/>
                <a:gd name="T31" fmla="*/ 14 h 14"/>
                <a:gd name="T32" fmla="*/ 6 w 155"/>
                <a:gd name="T33" fmla="*/ 14 h 14"/>
                <a:gd name="T34" fmla="*/ 6 w 155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4">
                  <a:moveTo>
                    <a:pt x="6" y="14"/>
                  </a:moveTo>
                  <a:lnTo>
                    <a:pt x="149" y="14"/>
                  </a:lnTo>
                  <a:lnTo>
                    <a:pt x="149" y="14"/>
                  </a:lnTo>
                  <a:lnTo>
                    <a:pt x="153" y="12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1" name="Freeform 96"/>
            <p:cNvSpPr>
              <a:spLocks/>
            </p:cNvSpPr>
            <p:nvPr/>
          </p:nvSpPr>
          <p:spPr bwMode="auto">
            <a:xfrm>
              <a:off x="5286237" y="1684689"/>
              <a:ext cx="162732" cy="14698"/>
            </a:xfrm>
            <a:custGeom>
              <a:avLst/>
              <a:gdLst>
                <a:gd name="T0" fmla="*/ 6 w 155"/>
                <a:gd name="T1" fmla="*/ 14 h 14"/>
                <a:gd name="T2" fmla="*/ 149 w 155"/>
                <a:gd name="T3" fmla="*/ 14 h 14"/>
                <a:gd name="T4" fmla="*/ 149 w 155"/>
                <a:gd name="T5" fmla="*/ 14 h 14"/>
                <a:gd name="T6" fmla="*/ 153 w 155"/>
                <a:gd name="T7" fmla="*/ 12 h 14"/>
                <a:gd name="T8" fmla="*/ 155 w 155"/>
                <a:gd name="T9" fmla="*/ 8 h 14"/>
                <a:gd name="T10" fmla="*/ 155 w 155"/>
                <a:gd name="T11" fmla="*/ 8 h 14"/>
                <a:gd name="T12" fmla="*/ 153 w 155"/>
                <a:gd name="T13" fmla="*/ 2 h 14"/>
                <a:gd name="T14" fmla="*/ 149 w 155"/>
                <a:gd name="T15" fmla="*/ 0 h 14"/>
                <a:gd name="T16" fmla="*/ 6 w 155"/>
                <a:gd name="T17" fmla="*/ 0 h 14"/>
                <a:gd name="T18" fmla="*/ 6 w 155"/>
                <a:gd name="T19" fmla="*/ 0 h 14"/>
                <a:gd name="T20" fmla="*/ 2 w 155"/>
                <a:gd name="T21" fmla="*/ 2 h 14"/>
                <a:gd name="T22" fmla="*/ 0 w 155"/>
                <a:gd name="T23" fmla="*/ 8 h 14"/>
                <a:gd name="T24" fmla="*/ 0 w 155"/>
                <a:gd name="T25" fmla="*/ 8 h 14"/>
                <a:gd name="T26" fmla="*/ 2 w 155"/>
                <a:gd name="T27" fmla="*/ 12 h 14"/>
                <a:gd name="T28" fmla="*/ 6 w 155"/>
                <a:gd name="T29" fmla="*/ 14 h 14"/>
                <a:gd name="T30" fmla="*/ 6 w 155"/>
                <a:gd name="T3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4">
                  <a:moveTo>
                    <a:pt x="6" y="14"/>
                  </a:moveTo>
                  <a:lnTo>
                    <a:pt x="149" y="14"/>
                  </a:lnTo>
                  <a:lnTo>
                    <a:pt x="149" y="14"/>
                  </a:lnTo>
                  <a:lnTo>
                    <a:pt x="153" y="12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6" y="1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2" name="Line 97"/>
            <p:cNvSpPr>
              <a:spLocks noChangeShapeType="1"/>
            </p:cNvSpPr>
            <p:nvPr/>
          </p:nvSpPr>
          <p:spPr bwMode="auto">
            <a:xfrm>
              <a:off x="5292536" y="169938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3" name="Freeform 98"/>
            <p:cNvSpPr>
              <a:spLocks noEditPoints="1"/>
            </p:cNvSpPr>
            <p:nvPr/>
          </p:nvSpPr>
          <p:spPr bwMode="auto">
            <a:xfrm>
              <a:off x="5286237" y="1781279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7 h 13"/>
                <a:gd name="T10" fmla="*/ 155 w 155"/>
                <a:gd name="T11" fmla="*/ 7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7 h 13"/>
                <a:gd name="T24" fmla="*/ 0 w 155"/>
                <a:gd name="T25" fmla="*/ 7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  <a:gd name="T32" fmla="*/ 6 w 155"/>
                <a:gd name="T33" fmla="*/ 13 h 13"/>
                <a:gd name="T34" fmla="*/ 6 w 155"/>
                <a:gd name="T3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  <a:close/>
                  <a:moveTo>
                    <a:pt x="6" y="13"/>
                  </a:moveTo>
                  <a:lnTo>
                    <a:pt x="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4" name="Freeform 99"/>
            <p:cNvSpPr>
              <a:spLocks/>
            </p:cNvSpPr>
            <p:nvPr/>
          </p:nvSpPr>
          <p:spPr bwMode="auto">
            <a:xfrm>
              <a:off x="5286237" y="1781279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7 h 13"/>
                <a:gd name="T10" fmla="*/ 155 w 155"/>
                <a:gd name="T11" fmla="*/ 7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7 h 13"/>
                <a:gd name="T24" fmla="*/ 0 w 155"/>
                <a:gd name="T25" fmla="*/ 7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5" name="Line 100"/>
            <p:cNvSpPr>
              <a:spLocks noChangeShapeType="1"/>
            </p:cNvSpPr>
            <p:nvPr/>
          </p:nvSpPr>
          <p:spPr bwMode="auto">
            <a:xfrm>
              <a:off x="5292536" y="1794927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6" name="Freeform 101"/>
            <p:cNvSpPr>
              <a:spLocks noEditPoints="1"/>
            </p:cNvSpPr>
            <p:nvPr/>
          </p:nvSpPr>
          <p:spPr bwMode="auto">
            <a:xfrm>
              <a:off x="5286237" y="1876818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8 h 13"/>
                <a:gd name="T10" fmla="*/ 155 w 155"/>
                <a:gd name="T11" fmla="*/ 8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8 h 13"/>
                <a:gd name="T24" fmla="*/ 0 w 155"/>
                <a:gd name="T25" fmla="*/ 8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  <a:gd name="T32" fmla="*/ 6 w 155"/>
                <a:gd name="T33" fmla="*/ 13 h 13"/>
                <a:gd name="T34" fmla="*/ 6 w 155"/>
                <a:gd name="T3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  <a:close/>
                  <a:moveTo>
                    <a:pt x="6" y="13"/>
                  </a:moveTo>
                  <a:lnTo>
                    <a:pt x="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7" name="Freeform 102"/>
            <p:cNvSpPr>
              <a:spLocks/>
            </p:cNvSpPr>
            <p:nvPr/>
          </p:nvSpPr>
          <p:spPr bwMode="auto">
            <a:xfrm>
              <a:off x="5286237" y="1876818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8 h 13"/>
                <a:gd name="T10" fmla="*/ 155 w 155"/>
                <a:gd name="T11" fmla="*/ 8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8 h 13"/>
                <a:gd name="T24" fmla="*/ 0 w 155"/>
                <a:gd name="T25" fmla="*/ 8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8" name="Line 103"/>
            <p:cNvSpPr>
              <a:spLocks noChangeShapeType="1"/>
            </p:cNvSpPr>
            <p:nvPr/>
          </p:nvSpPr>
          <p:spPr bwMode="auto">
            <a:xfrm>
              <a:off x="5292536" y="189046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9" name="Freeform 104"/>
            <p:cNvSpPr>
              <a:spLocks noEditPoints="1"/>
            </p:cNvSpPr>
            <p:nvPr/>
          </p:nvSpPr>
          <p:spPr bwMode="auto">
            <a:xfrm>
              <a:off x="5142403" y="1589150"/>
              <a:ext cx="384257" cy="383207"/>
            </a:xfrm>
            <a:custGeom>
              <a:avLst/>
              <a:gdLst>
                <a:gd name="T0" fmla="*/ 360 w 366"/>
                <a:gd name="T1" fmla="*/ 0 h 365"/>
                <a:gd name="T2" fmla="*/ 6 w 366"/>
                <a:gd name="T3" fmla="*/ 0 h 365"/>
                <a:gd name="T4" fmla="*/ 6 w 366"/>
                <a:gd name="T5" fmla="*/ 0 h 365"/>
                <a:gd name="T6" fmla="*/ 2 w 366"/>
                <a:gd name="T7" fmla="*/ 2 h 365"/>
                <a:gd name="T8" fmla="*/ 0 w 366"/>
                <a:gd name="T9" fmla="*/ 7 h 365"/>
                <a:gd name="T10" fmla="*/ 0 w 366"/>
                <a:gd name="T11" fmla="*/ 360 h 365"/>
                <a:gd name="T12" fmla="*/ 0 w 366"/>
                <a:gd name="T13" fmla="*/ 360 h 365"/>
                <a:gd name="T14" fmla="*/ 2 w 366"/>
                <a:gd name="T15" fmla="*/ 364 h 365"/>
                <a:gd name="T16" fmla="*/ 6 w 366"/>
                <a:gd name="T17" fmla="*/ 365 h 365"/>
                <a:gd name="T18" fmla="*/ 360 w 366"/>
                <a:gd name="T19" fmla="*/ 365 h 365"/>
                <a:gd name="T20" fmla="*/ 360 w 366"/>
                <a:gd name="T21" fmla="*/ 365 h 365"/>
                <a:gd name="T22" fmla="*/ 364 w 366"/>
                <a:gd name="T23" fmla="*/ 364 h 365"/>
                <a:gd name="T24" fmla="*/ 366 w 366"/>
                <a:gd name="T25" fmla="*/ 360 h 365"/>
                <a:gd name="T26" fmla="*/ 366 w 366"/>
                <a:gd name="T27" fmla="*/ 7 h 365"/>
                <a:gd name="T28" fmla="*/ 366 w 366"/>
                <a:gd name="T29" fmla="*/ 7 h 365"/>
                <a:gd name="T30" fmla="*/ 364 w 366"/>
                <a:gd name="T31" fmla="*/ 2 h 365"/>
                <a:gd name="T32" fmla="*/ 360 w 366"/>
                <a:gd name="T33" fmla="*/ 0 h 365"/>
                <a:gd name="T34" fmla="*/ 360 w 366"/>
                <a:gd name="T35" fmla="*/ 0 h 365"/>
                <a:gd name="T36" fmla="*/ 352 w 366"/>
                <a:gd name="T37" fmla="*/ 354 h 365"/>
                <a:gd name="T38" fmla="*/ 12 w 366"/>
                <a:gd name="T39" fmla="*/ 354 h 365"/>
                <a:gd name="T40" fmla="*/ 12 w 366"/>
                <a:gd name="T41" fmla="*/ 13 h 365"/>
                <a:gd name="T42" fmla="*/ 352 w 366"/>
                <a:gd name="T43" fmla="*/ 13 h 365"/>
                <a:gd name="T44" fmla="*/ 352 w 366"/>
                <a:gd name="T45" fmla="*/ 354 h 365"/>
                <a:gd name="T46" fmla="*/ 352 w 366"/>
                <a:gd name="T47" fmla="*/ 354 h 365"/>
                <a:gd name="T48" fmla="*/ 352 w 366"/>
                <a:gd name="T49" fmla="*/ 354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6" h="365">
                  <a:moveTo>
                    <a:pt x="360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360"/>
                  </a:lnTo>
                  <a:lnTo>
                    <a:pt x="0" y="360"/>
                  </a:lnTo>
                  <a:lnTo>
                    <a:pt x="2" y="364"/>
                  </a:lnTo>
                  <a:lnTo>
                    <a:pt x="6" y="365"/>
                  </a:lnTo>
                  <a:lnTo>
                    <a:pt x="360" y="365"/>
                  </a:lnTo>
                  <a:lnTo>
                    <a:pt x="360" y="365"/>
                  </a:lnTo>
                  <a:lnTo>
                    <a:pt x="364" y="364"/>
                  </a:lnTo>
                  <a:lnTo>
                    <a:pt x="366" y="360"/>
                  </a:lnTo>
                  <a:lnTo>
                    <a:pt x="366" y="7"/>
                  </a:lnTo>
                  <a:lnTo>
                    <a:pt x="366" y="7"/>
                  </a:lnTo>
                  <a:lnTo>
                    <a:pt x="364" y="2"/>
                  </a:lnTo>
                  <a:lnTo>
                    <a:pt x="360" y="0"/>
                  </a:lnTo>
                  <a:lnTo>
                    <a:pt x="360" y="0"/>
                  </a:lnTo>
                  <a:close/>
                  <a:moveTo>
                    <a:pt x="352" y="354"/>
                  </a:moveTo>
                  <a:lnTo>
                    <a:pt x="12" y="354"/>
                  </a:lnTo>
                  <a:lnTo>
                    <a:pt x="12" y="13"/>
                  </a:lnTo>
                  <a:lnTo>
                    <a:pt x="352" y="13"/>
                  </a:lnTo>
                  <a:lnTo>
                    <a:pt x="352" y="354"/>
                  </a:lnTo>
                  <a:close/>
                  <a:moveTo>
                    <a:pt x="352" y="354"/>
                  </a:moveTo>
                  <a:lnTo>
                    <a:pt x="352" y="3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2" name="Line 107"/>
            <p:cNvSpPr>
              <a:spLocks noChangeShapeType="1"/>
            </p:cNvSpPr>
            <p:nvPr/>
          </p:nvSpPr>
          <p:spPr bwMode="auto">
            <a:xfrm>
              <a:off x="5511962" y="196080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3" name="Freeform 108"/>
            <p:cNvSpPr>
              <a:spLocks noEditPoints="1"/>
            </p:cNvSpPr>
            <p:nvPr/>
          </p:nvSpPr>
          <p:spPr bwMode="auto">
            <a:xfrm>
              <a:off x="5212745" y="1660542"/>
              <a:ext cx="49344" cy="46195"/>
            </a:xfrm>
            <a:custGeom>
              <a:avLst/>
              <a:gdLst>
                <a:gd name="T0" fmla="*/ 9 w 47"/>
                <a:gd name="T1" fmla="*/ 44 h 44"/>
                <a:gd name="T2" fmla="*/ 25 w 47"/>
                <a:gd name="T3" fmla="*/ 37 h 44"/>
                <a:gd name="T4" fmla="*/ 38 w 47"/>
                <a:gd name="T5" fmla="*/ 44 h 44"/>
                <a:gd name="T6" fmla="*/ 36 w 47"/>
                <a:gd name="T7" fmla="*/ 29 h 44"/>
                <a:gd name="T8" fmla="*/ 47 w 47"/>
                <a:gd name="T9" fmla="*/ 17 h 44"/>
                <a:gd name="T10" fmla="*/ 30 w 47"/>
                <a:gd name="T11" fmla="*/ 14 h 44"/>
                <a:gd name="T12" fmla="*/ 25 w 47"/>
                <a:gd name="T13" fmla="*/ 0 h 44"/>
                <a:gd name="T14" fmla="*/ 17 w 47"/>
                <a:gd name="T15" fmla="*/ 14 h 44"/>
                <a:gd name="T16" fmla="*/ 0 w 47"/>
                <a:gd name="T17" fmla="*/ 17 h 44"/>
                <a:gd name="T18" fmla="*/ 11 w 47"/>
                <a:gd name="T19" fmla="*/ 29 h 44"/>
                <a:gd name="T20" fmla="*/ 9 w 47"/>
                <a:gd name="T21" fmla="*/ 44 h 44"/>
                <a:gd name="T22" fmla="*/ 9 w 47"/>
                <a:gd name="T23" fmla="*/ 44 h 44"/>
                <a:gd name="T24" fmla="*/ 9 w 47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4">
                  <a:moveTo>
                    <a:pt x="9" y="44"/>
                  </a:moveTo>
                  <a:lnTo>
                    <a:pt x="25" y="37"/>
                  </a:lnTo>
                  <a:lnTo>
                    <a:pt x="38" y="44"/>
                  </a:lnTo>
                  <a:lnTo>
                    <a:pt x="36" y="29"/>
                  </a:lnTo>
                  <a:lnTo>
                    <a:pt x="47" y="17"/>
                  </a:lnTo>
                  <a:lnTo>
                    <a:pt x="30" y="14"/>
                  </a:lnTo>
                  <a:lnTo>
                    <a:pt x="25" y="0"/>
                  </a:lnTo>
                  <a:lnTo>
                    <a:pt x="17" y="14"/>
                  </a:lnTo>
                  <a:lnTo>
                    <a:pt x="0" y="17"/>
                  </a:lnTo>
                  <a:lnTo>
                    <a:pt x="11" y="29"/>
                  </a:lnTo>
                  <a:lnTo>
                    <a:pt x="9" y="44"/>
                  </a:lnTo>
                  <a:close/>
                  <a:moveTo>
                    <a:pt x="9" y="44"/>
                  </a:moveTo>
                  <a:lnTo>
                    <a:pt x="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4" name="Freeform 109"/>
            <p:cNvSpPr>
              <a:spLocks/>
            </p:cNvSpPr>
            <p:nvPr/>
          </p:nvSpPr>
          <p:spPr bwMode="auto">
            <a:xfrm>
              <a:off x="5212745" y="1660542"/>
              <a:ext cx="49344" cy="46195"/>
            </a:xfrm>
            <a:custGeom>
              <a:avLst/>
              <a:gdLst>
                <a:gd name="T0" fmla="*/ 9 w 47"/>
                <a:gd name="T1" fmla="*/ 44 h 44"/>
                <a:gd name="T2" fmla="*/ 25 w 47"/>
                <a:gd name="T3" fmla="*/ 37 h 44"/>
                <a:gd name="T4" fmla="*/ 38 w 47"/>
                <a:gd name="T5" fmla="*/ 44 h 44"/>
                <a:gd name="T6" fmla="*/ 36 w 47"/>
                <a:gd name="T7" fmla="*/ 29 h 44"/>
                <a:gd name="T8" fmla="*/ 47 w 47"/>
                <a:gd name="T9" fmla="*/ 17 h 44"/>
                <a:gd name="T10" fmla="*/ 30 w 47"/>
                <a:gd name="T11" fmla="*/ 14 h 44"/>
                <a:gd name="T12" fmla="*/ 25 w 47"/>
                <a:gd name="T13" fmla="*/ 0 h 44"/>
                <a:gd name="T14" fmla="*/ 17 w 47"/>
                <a:gd name="T15" fmla="*/ 14 h 44"/>
                <a:gd name="T16" fmla="*/ 0 w 47"/>
                <a:gd name="T17" fmla="*/ 17 h 44"/>
                <a:gd name="T18" fmla="*/ 11 w 47"/>
                <a:gd name="T19" fmla="*/ 29 h 44"/>
                <a:gd name="T20" fmla="*/ 9 w 47"/>
                <a:gd name="T2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9" y="44"/>
                  </a:moveTo>
                  <a:lnTo>
                    <a:pt x="25" y="37"/>
                  </a:lnTo>
                  <a:lnTo>
                    <a:pt x="38" y="44"/>
                  </a:lnTo>
                  <a:lnTo>
                    <a:pt x="36" y="29"/>
                  </a:lnTo>
                  <a:lnTo>
                    <a:pt x="47" y="17"/>
                  </a:lnTo>
                  <a:lnTo>
                    <a:pt x="30" y="14"/>
                  </a:lnTo>
                  <a:lnTo>
                    <a:pt x="25" y="0"/>
                  </a:lnTo>
                  <a:lnTo>
                    <a:pt x="17" y="14"/>
                  </a:lnTo>
                  <a:lnTo>
                    <a:pt x="0" y="17"/>
                  </a:lnTo>
                  <a:lnTo>
                    <a:pt x="11" y="29"/>
                  </a:lnTo>
                  <a:lnTo>
                    <a:pt x="9" y="4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5" name="Line 110"/>
            <p:cNvSpPr>
              <a:spLocks noChangeShapeType="1"/>
            </p:cNvSpPr>
            <p:nvPr/>
          </p:nvSpPr>
          <p:spPr bwMode="auto">
            <a:xfrm>
              <a:off x="5222194" y="1706737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6" name="Freeform 111"/>
            <p:cNvSpPr>
              <a:spLocks noEditPoints="1"/>
            </p:cNvSpPr>
            <p:nvPr/>
          </p:nvSpPr>
          <p:spPr bwMode="auto">
            <a:xfrm>
              <a:off x="5212745" y="1757131"/>
              <a:ext cx="49344" cy="47245"/>
            </a:xfrm>
            <a:custGeom>
              <a:avLst/>
              <a:gdLst>
                <a:gd name="T0" fmla="*/ 9 w 47"/>
                <a:gd name="T1" fmla="*/ 45 h 45"/>
                <a:gd name="T2" fmla="*/ 25 w 47"/>
                <a:gd name="T3" fmla="*/ 38 h 45"/>
                <a:gd name="T4" fmla="*/ 38 w 47"/>
                <a:gd name="T5" fmla="*/ 45 h 45"/>
                <a:gd name="T6" fmla="*/ 36 w 47"/>
                <a:gd name="T7" fmla="*/ 28 h 45"/>
                <a:gd name="T8" fmla="*/ 47 w 47"/>
                <a:gd name="T9" fmla="*/ 17 h 45"/>
                <a:gd name="T10" fmla="*/ 30 w 47"/>
                <a:gd name="T11" fmla="*/ 15 h 45"/>
                <a:gd name="T12" fmla="*/ 25 w 47"/>
                <a:gd name="T13" fmla="*/ 0 h 45"/>
                <a:gd name="T14" fmla="*/ 17 w 47"/>
                <a:gd name="T15" fmla="*/ 15 h 45"/>
                <a:gd name="T16" fmla="*/ 0 w 47"/>
                <a:gd name="T17" fmla="*/ 17 h 45"/>
                <a:gd name="T18" fmla="*/ 11 w 47"/>
                <a:gd name="T19" fmla="*/ 28 h 45"/>
                <a:gd name="T20" fmla="*/ 9 w 47"/>
                <a:gd name="T21" fmla="*/ 45 h 45"/>
                <a:gd name="T22" fmla="*/ 9 w 47"/>
                <a:gd name="T23" fmla="*/ 45 h 45"/>
                <a:gd name="T24" fmla="*/ 9 w 47"/>
                <a:gd name="T2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5">
                  <a:moveTo>
                    <a:pt x="9" y="45"/>
                  </a:moveTo>
                  <a:lnTo>
                    <a:pt x="25" y="38"/>
                  </a:lnTo>
                  <a:lnTo>
                    <a:pt x="38" y="45"/>
                  </a:lnTo>
                  <a:lnTo>
                    <a:pt x="36" y="28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28"/>
                  </a:lnTo>
                  <a:lnTo>
                    <a:pt x="9" y="45"/>
                  </a:lnTo>
                  <a:close/>
                  <a:moveTo>
                    <a:pt x="9" y="45"/>
                  </a:moveTo>
                  <a:lnTo>
                    <a:pt x="9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7" name="Freeform 112"/>
            <p:cNvSpPr>
              <a:spLocks/>
            </p:cNvSpPr>
            <p:nvPr/>
          </p:nvSpPr>
          <p:spPr bwMode="auto">
            <a:xfrm>
              <a:off x="5212745" y="1757131"/>
              <a:ext cx="49344" cy="47245"/>
            </a:xfrm>
            <a:custGeom>
              <a:avLst/>
              <a:gdLst>
                <a:gd name="T0" fmla="*/ 9 w 47"/>
                <a:gd name="T1" fmla="*/ 45 h 45"/>
                <a:gd name="T2" fmla="*/ 25 w 47"/>
                <a:gd name="T3" fmla="*/ 38 h 45"/>
                <a:gd name="T4" fmla="*/ 38 w 47"/>
                <a:gd name="T5" fmla="*/ 45 h 45"/>
                <a:gd name="T6" fmla="*/ 36 w 47"/>
                <a:gd name="T7" fmla="*/ 28 h 45"/>
                <a:gd name="T8" fmla="*/ 47 w 47"/>
                <a:gd name="T9" fmla="*/ 17 h 45"/>
                <a:gd name="T10" fmla="*/ 30 w 47"/>
                <a:gd name="T11" fmla="*/ 15 h 45"/>
                <a:gd name="T12" fmla="*/ 25 w 47"/>
                <a:gd name="T13" fmla="*/ 0 h 45"/>
                <a:gd name="T14" fmla="*/ 17 w 47"/>
                <a:gd name="T15" fmla="*/ 15 h 45"/>
                <a:gd name="T16" fmla="*/ 0 w 47"/>
                <a:gd name="T17" fmla="*/ 17 h 45"/>
                <a:gd name="T18" fmla="*/ 11 w 47"/>
                <a:gd name="T19" fmla="*/ 28 h 45"/>
                <a:gd name="T20" fmla="*/ 9 w 47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5">
                  <a:moveTo>
                    <a:pt x="9" y="45"/>
                  </a:moveTo>
                  <a:lnTo>
                    <a:pt x="25" y="38"/>
                  </a:lnTo>
                  <a:lnTo>
                    <a:pt x="38" y="45"/>
                  </a:lnTo>
                  <a:lnTo>
                    <a:pt x="36" y="28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28"/>
                  </a:lnTo>
                  <a:lnTo>
                    <a:pt x="9" y="4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8" name="Line 113"/>
            <p:cNvSpPr>
              <a:spLocks noChangeShapeType="1"/>
            </p:cNvSpPr>
            <p:nvPr/>
          </p:nvSpPr>
          <p:spPr bwMode="auto">
            <a:xfrm>
              <a:off x="5222194" y="180437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9" name="Freeform 114"/>
            <p:cNvSpPr>
              <a:spLocks noEditPoints="1"/>
            </p:cNvSpPr>
            <p:nvPr/>
          </p:nvSpPr>
          <p:spPr bwMode="auto">
            <a:xfrm>
              <a:off x="5212745" y="1854770"/>
              <a:ext cx="49344" cy="48295"/>
            </a:xfrm>
            <a:custGeom>
              <a:avLst/>
              <a:gdLst>
                <a:gd name="T0" fmla="*/ 9 w 47"/>
                <a:gd name="T1" fmla="*/ 46 h 46"/>
                <a:gd name="T2" fmla="*/ 25 w 47"/>
                <a:gd name="T3" fmla="*/ 38 h 46"/>
                <a:gd name="T4" fmla="*/ 38 w 47"/>
                <a:gd name="T5" fmla="*/ 46 h 46"/>
                <a:gd name="T6" fmla="*/ 36 w 47"/>
                <a:gd name="T7" fmla="*/ 31 h 46"/>
                <a:gd name="T8" fmla="*/ 47 w 47"/>
                <a:gd name="T9" fmla="*/ 17 h 46"/>
                <a:gd name="T10" fmla="*/ 30 w 47"/>
                <a:gd name="T11" fmla="*/ 15 h 46"/>
                <a:gd name="T12" fmla="*/ 25 w 47"/>
                <a:gd name="T13" fmla="*/ 0 h 46"/>
                <a:gd name="T14" fmla="*/ 17 w 47"/>
                <a:gd name="T15" fmla="*/ 15 h 46"/>
                <a:gd name="T16" fmla="*/ 0 w 47"/>
                <a:gd name="T17" fmla="*/ 17 h 46"/>
                <a:gd name="T18" fmla="*/ 11 w 47"/>
                <a:gd name="T19" fmla="*/ 31 h 46"/>
                <a:gd name="T20" fmla="*/ 9 w 47"/>
                <a:gd name="T21" fmla="*/ 46 h 46"/>
                <a:gd name="T22" fmla="*/ 9 w 47"/>
                <a:gd name="T23" fmla="*/ 46 h 46"/>
                <a:gd name="T24" fmla="*/ 9 w 47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6">
                  <a:moveTo>
                    <a:pt x="9" y="46"/>
                  </a:moveTo>
                  <a:lnTo>
                    <a:pt x="25" y="38"/>
                  </a:lnTo>
                  <a:lnTo>
                    <a:pt x="38" y="46"/>
                  </a:lnTo>
                  <a:lnTo>
                    <a:pt x="36" y="31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31"/>
                  </a:lnTo>
                  <a:lnTo>
                    <a:pt x="9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0" name="Freeform 115"/>
            <p:cNvSpPr>
              <a:spLocks/>
            </p:cNvSpPr>
            <p:nvPr/>
          </p:nvSpPr>
          <p:spPr bwMode="auto">
            <a:xfrm>
              <a:off x="5212745" y="1854770"/>
              <a:ext cx="49344" cy="48295"/>
            </a:xfrm>
            <a:custGeom>
              <a:avLst/>
              <a:gdLst>
                <a:gd name="T0" fmla="*/ 9 w 47"/>
                <a:gd name="T1" fmla="*/ 46 h 46"/>
                <a:gd name="T2" fmla="*/ 25 w 47"/>
                <a:gd name="T3" fmla="*/ 38 h 46"/>
                <a:gd name="T4" fmla="*/ 38 w 47"/>
                <a:gd name="T5" fmla="*/ 46 h 46"/>
                <a:gd name="T6" fmla="*/ 36 w 47"/>
                <a:gd name="T7" fmla="*/ 31 h 46"/>
                <a:gd name="T8" fmla="*/ 47 w 47"/>
                <a:gd name="T9" fmla="*/ 17 h 46"/>
                <a:gd name="T10" fmla="*/ 30 w 47"/>
                <a:gd name="T11" fmla="*/ 15 h 46"/>
                <a:gd name="T12" fmla="*/ 25 w 47"/>
                <a:gd name="T13" fmla="*/ 0 h 46"/>
                <a:gd name="T14" fmla="*/ 17 w 47"/>
                <a:gd name="T15" fmla="*/ 15 h 46"/>
                <a:gd name="T16" fmla="*/ 0 w 47"/>
                <a:gd name="T17" fmla="*/ 17 h 46"/>
                <a:gd name="T18" fmla="*/ 11 w 47"/>
                <a:gd name="T19" fmla="*/ 31 h 46"/>
                <a:gd name="T20" fmla="*/ 9 w 47"/>
                <a:gd name="T2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6">
                  <a:moveTo>
                    <a:pt x="9" y="46"/>
                  </a:moveTo>
                  <a:lnTo>
                    <a:pt x="25" y="38"/>
                  </a:lnTo>
                  <a:lnTo>
                    <a:pt x="38" y="46"/>
                  </a:lnTo>
                  <a:lnTo>
                    <a:pt x="36" y="31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31"/>
                  </a:lnTo>
                  <a:lnTo>
                    <a:pt x="9" y="4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1" name="Line 116"/>
            <p:cNvSpPr>
              <a:spLocks noChangeShapeType="1"/>
            </p:cNvSpPr>
            <p:nvPr/>
          </p:nvSpPr>
          <p:spPr bwMode="auto">
            <a:xfrm>
              <a:off x="5222194" y="190306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596825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žadavky</a:t>
            </a:r>
          </a:p>
        </p:txBody>
      </p:sp>
      <p:sp>
        <p:nvSpPr>
          <p:cNvPr id="6" name="Zástupný symbol pro text 2"/>
          <p:cNvSpPr txBox="1">
            <a:spLocks/>
          </p:cNvSpPr>
          <p:nvPr/>
        </p:nvSpPr>
        <p:spPr>
          <a:xfrm>
            <a:off x="4152899" y="3078508"/>
            <a:ext cx="4505327" cy="2756777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 err="1">
                <a:latin typeface="Arial" panose="020B0604020202020204" pitchFamily="34" charset="0"/>
                <a:cs typeface="Arial" panose="020B0604020202020204" pitchFamily="34" charset="0"/>
              </a:rPr>
              <a:t>Mezipobočkové</a:t>
            </a: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 propojení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Aktuální data – dát dobrovolníkům možnost si upravit svoje data a preference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Dobrovolníci nebudou mít přístup </a:t>
            </a:r>
            <a:b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do systému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Možné generování některých statistik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  <a:t>Přihlašování</a:t>
            </a:r>
            <a:endParaRPr lang="cs-CZ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Několik rolí uživatelů (</a:t>
            </a:r>
            <a:r>
              <a:rPr lang="cs-CZ" b="0" dirty="0" err="1">
                <a:latin typeface="Arial" panose="020B0604020202020204" pitchFamily="34" charset="0"/>
                <a:cs typeface="Arial" panose="020B0604020202020204" pitchFamily="34" charset="0"/>
              </a:rPr>
              <a:t>Admin</a:t>
            </a: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 a koordinátor)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Každá role má jiná práva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Zašifrovaná hesla uživatelů v databázi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Bezpečnost systému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Snadná údržba systému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Škálovatelnost systému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7" y="2586065"/>
            <a:ext cx="3213478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řípady užití IS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4152899" y="2586065"/>
            <a:ext cx="4505327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lší požadavky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1541018" y="1310073"/>
            <a:ext cx="1171575" cy="1168400"/>
            <a:chOff x="5045075" y="-299522"/>
            <a:chExt cx="1171575" cy="1168400"/>
          </a:xfrm>
        </p:grpSpPr>
        <p:sp>
          <p:nvSpPr>
            <p:cNvPr id="61" name="Freeform 16"/>
            <p:cNvSpPr>
              <a:spLocks noEditPoints="1"/>
            </p:cNvSpPr>
            <p:nvPr/>
          </p:nvSpPr>
          <p:spPr bwMode="auto">
            <a:xfrm>
              <a:off x="5045075" y="-299522"/>
              <a:ext cx="1171575" cy="1168400"/>
            </a:xfrm>
            <a:custGeom>
              <a:avLst/>
              <a:gdLst>
                <a:gd name="T0" fmla="*/ 412 w 738"/>
                <a:gd name="T1" fmla="*/ 356 h 736"/>
                <a:gd name="T2" fmla="*/ 498 w 738"/>
                <a:gd name="T3" fmla="*/ 318 h 736"/>
                <a:gd name="T4" fmla="*/ 442 w 738"/>
                <a:gd name="T5" fmla="*/ 280 h 736"/>
                <a:gd name="T6" fmla="*/ 484 w 738"/>
                <a:gd name="T7" fmla="*/ 188 h 736"/>
                <a:gd name="T8" fmla="*/ 474 w 738"/>
                <a:gd name="T9" fmla="*/ 124 h 736"/>
                <a:gd name="T10" fmla="*/ 396 w 738"/>
                <a:gd name="T11" fmla="*/ 120 h 736"/>
                <a:gd name="T12" fmla="*/ 372 w 738"/>
                <a:gd name="T13" fmla="*/ 28 h 736"/>
                <a:gd name="T14" fmla="*/ 304 w 738"/>
                <a:gd name="T15" fmla="*/ 2 h 736"/>
                <a:gd name="T16" fmla="*/ 226 w 738"/>
                <a:gd name="T17" fmla="*/ 56 h 736"/>
                <a:gd name="T18" fmla="*/ 172 w 738"/>
                <a:gd name="T19" fmla="*/ 4 h 736"/>
                <a:gd name="T20" fmla="*/ 114 w 738"/>
                <a:gd name="T21" fmla="*/ 48 h 736"/>
                <a:gd name="T22" fmla="*/ 40 w 738"/>
                <a:gd name="T23" fmla="*/ 128 h 736"/>
                <a:gd name="T24" fmla="*/ 0 w 738"/>
                <a:gd name="T25" fmla="*/ 182 h 736"/>
                <a:gd name="T26" fmla="*/ 56 w 738"/>
                <a:gd name="T27" fmla="*/ 220 h 736"/>
                <a:gd name="T28" fmla="*/ 8 w 738"/>
                <a:gd name="T29" fmla="*/ 316 h 736"/>
                <a:gd name="T30" fmla="*/ 28 w 738"/>
                <a:gd name="T31" fmla="*/ 382 h 736"/>
                <a:gd name="T32" fmla="*/ 104 w 738"/>
                <a:gd name="T33" fmla="*/ 380 h 736"/>
                <a:gd name="T34" fmla="*/ 126 w 738"/>
                <a:gd name="T35" fmla="*/ 472 h 736"/>
                <a:gd name="T36" fmla="*/ 194 w 738"/>
                <a:gd name="T37" fmla="*/ 498 h 736"/>
                <a:gd name="T38" fmla="*/ 256 w 738"/>
                <a:gd name="T39" fmla="*/ 444 h 736"/>
                <a:gd name="T40" fmla="*/ 320 w 738"/>
                <a:gd name="T41" fmla="*/ 494 h 736"/>
                <a:gd name="T42" fmla="*/ 386 w 738"/>
                <a:gd name="T43" fmla="*/ 458 h 736"/>
                <a:gd name="T44" fmla="*/ 328 w 738"/>
                <a:gd name="T45" fmla="*/ 334 h 736"/>
                <a:gd name="T46" fmla="*/ 228 w 738"/>
                <a:gd name="T47" fmla="*/ 364 h 736"/>
                <a:gd name="T48" fmla="*/ 144 w 738"/>
                <a:gd name="T49" fmla="*/ 298 h 736"/>
                <a:gd name="T50" fmla="*/ 158 w 738"/>
                <a:gd name="T51" fmla="*/ 180 h 736"/>
                <a:gd name="T52" fmla="*/ 250 w 738"/>
                <a:gd name="T53" fmla="*/ 136 h 736"/>
                <a:gd name="T54" fmla="*/ 354 w 738"/>
                <a:gd name="T55" fmla="*/ 202 h 736"/>
                <a:gd name="T56" fmla="*/ 734 w 738"/>
                <a:gd name="T57" fmla="*/ 522 h 736"/>
                <a:gd name="T58" fmla="*/ 674 w 738"/>
                <a:gd name="T59" fmla="*/ 472 h 736"/>
                <a:gd name="T60" fmla="*/ 676 w 738"/>
                <a:gd name="T61" fmla="*/ 402 h 736"/>
                <a:gd name="T62" fmla="*/ 628 w 738"/>
                <a:gd name="T63" fmla="*/ 422 h 736"/>
                <a:gd name="T64" fmla="*/ 582 w 738"/>
                <a:gd name="T65" fmla="*/ 358 h 736"/>
                <a:gd name="T66" fmla="*/ 520 w 738"/>
                <a:gd name="T67" fmla="*/ 362 h 736"/>
                <a:gd name="T68" fmla="*/ 454 w 738"/>
                <a:gd name="T69" fmla="*/ 392 h 736"/>
                <a:gd name="T70" fmla="*/ 404 w 738"/>
                <a:gd name="T71" fmla="*/ 414 h 736"/>
                <a:gd name="T72" fmla="*/ 412 w 738"/>
                <a:gd name="T73" fmla="*/ 482 h 736"/>
                <a:gd name="T74" fmla="*/ 356 w 738"/>
                <a:gd name="T75" fmla="*/ 518 h 736"/>
                <a:gd name="T76" fmla="*/ 370 w 738"/>
                <a:gd name="T77" fmla="*/ 570 h 736"/>
                <a:gd name="T78" fmla="*/ 390 w 738"/>
                <a:gd name="T79" fmla="*/ 642 h 736"/>
                <a:gd name="T80" fmla="*/ 422 w 738"/>
                <a:gd name="T81" fmla="*/ 690 h 736"/>
                <a:gd name="T82" fmla="*/ 484 w 738"/>
                <a:gd name="T83" fmla="*/ 676 h 736"/>
                <a:gd name="T84" fmla="*/ 520 w 738"/>
                <a:gd name="T85" fmla="*/ 734 h 736"/>
                <a:gd name="T86" fmla="*/ 568 w 738"/>
                <a:gd name="T87" fmla="*/ 730 h 736"/>
                <a:gd name="T88" fmla="*/ 638 w 738"/>
                <a:gd name="T89" fmla="*/ 696 h 736"/>
                <a:gd name="T90" fmla="*/ 688 w 738"/>
                <a:gd name="T91" fmla="*/ 672 h 736"/>
                <a:gd name="T92" fmla="*/ 668 w 738"/>
                <a:gd name="T93" fmla="*/ 626 h 736"/>
                <a:gd name="T94" fmla="*/ 734 w 738"/>
                <a:gd name="T95" fmla="*/ 576 h 736"/>
                <a:gd name="T96" fmla="*/ 542 w 738"/>
                <a:gd name="T97" fmla="*/ 622 h 736"/>
                <a:gd name="T98" fmla="*/ 472 w 738"/>
                <a:gd name="T99" fmla="*/ 570 h 736"/>
                <a:gd name="T100" fmla="*/ 492 w 738"/>
                <a:gd name="T101" fmla="*/ 486 h 736"/>
                <a:gd name="T102" fmla="*/ 550 w 738"/>
                <a:gd name="T103" fmla="*/ 464 h 736"/>
                <a:gd name="T104" fmla="*/ 624 w 738"/>
                <a:gd name="T105" fmla="*/ 530 h 736"/>
                <a:gd name="T106" fmla="*/ 588 w 738"/>
                <a:gd name="T107" fmla="*/ 610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38" h="736">
                  <a:moveTo>
                    <a:pt x="384" y="452"/>
                  </a:moveTo>
                  <a:lnTo>
                    <a:pt x="364" y="408"/>
                  </a:lnTo>
                  <a:lnTo>
                    <a:pt x="364" y="408"/>
                  </a:lnTo>
                  <a:lnTo>
                    <a:pt x="378" y="396"/>
                  </a:lnTo>
                  <a:lnTo>
                    <a:pt x="392" y="384"/>
                  </a:lnTo>
                  <a:lnTo>
                    <a:pt x="402" y="370"/>
                  </a:lnTo>
                  <a:lnTo>
                    <a:pt x="412" y="356"/>
                  </a:lnTo>
                  <a:lnTo>
                    <a:pt x="458" y="374"/>
                  </a:lnTo>
                  <a:lnTo>
                    <a:pt x="458" y="374"/>
                  </a:lnTo>
                  <a:lnTo>
                    <a:pt x="466" y="374"/>
                  </a:lnTo>
                  <a:lnTo>
                    <a:pt x="472" y="372"/>
                  </a:lnTo>
                  <a:lnTo>
                    <a:pt x="478" y="368"/>
                  </a:lnTo>
                  <a:lnTo>
                    <a:pt x="480" y="364"/>
                  </a:lnTo>
                  <a:lnTo>
                    <a:pt x="498" y="318"/>
                  </a:lnTo>
                  <a:lnTo>
                    <a:pt x="498" y="318"/>
                  </a:lnTo>
                  <a:lnTo>
                    <a:pt x="498" y="312"/>
                  </a:lnTo>
                  <a:lnTo>
                    <a:pt x="498" y="306"/>
                  </a:lnTo>
                  <a:lnTo>
                    <a:pt x="498" y="306"/>
                  </a:lnTo>
                  <a:lnTo>
                    <a:pt x="494" y="300"/>
                  </a:lnTo>
                  <a:lnTo>
                    <a:pt x="488" y="296"/>
                  </a:lnTo>
                  <a:lnTo>
                    <a:pt x="442" y="280"/>
                  </a:lnTo>
                  <a:lnTo>
                    <a:pt x="442" y="280"/>
                  </a:lnTo>
                  <a:lnTo>
                    <a:pt x="444" y="262"/>
                  </a:lnTo>
                  <a:lnTo>
                    <a:pt x="444" y="244"/>
                  </a:lnTo>
                  <a:lnTo>
                    <a:pt x="442" y="226"/>
                  </a:lnTo>
                  <a:lnTo>
                    <a:pt x="440" y="208"/>
                  </a:lnTo>
                  <a:lnTo>
                    <a:pt x="484" y="188"/>
                  </a:lnTo>
                  <a:lnTo>
                    <a:pt x="484" y="188"/>
                  </a:lnTo>
                  <a:lnTo>
                    <a:pt x="490" y="184"/>
                  </a:lnTo>
                  <a:lnTo>
                    <a:pt x="494" y="180"/>
                  </a:lnTo>
                  <a:lnTo>
                    <a:pt x="494" y="180"/>
                  </a:lnTo>
                  <a:lnTo>
                    <a:pt x="494" y="172"/>
                  </a:lnTo>
                  <a:lnTo>
                    <a:pt x="492" y="166"/>
                  </a:lnTo>
                  <a:lnTo>
                    <a:pt x="474" y="124"/>
                  </a:lnTo>
                  <a:lnTo>
                    <a:pt x="474" y="124"/>
                  </a:lnTo>
                  <a:lnTo>
                    <a:pt x="470" y="118"/>
                  </a:lnTo>
                  <a:lnTo>
                    <a:pt x="464" y="114"/>
                  </a:lnTo>
                  <a:lnTo>
                    <a:pt x="458" y="114"/>
                  </a:lnTo>
                  <a:lnTo>
                    <a:pt x="450" y="114"/>
                  </a:lnTo>
                  <a:lnTo>
                    <a:pt x="406" y="134"/>
                  </a:lnTo>
                  <a:lnTo>
                    <a:pt x="406" y="134"/>
                  </a:lnTo>
                  <a:lnTo>
                    <a:pt x="396" y="120"/>
                  </a:lnTo>
                  <a:lnTo>
                    <a:pt x="382" y="108"/>
                  </a:lnTo>
                  <a:lnTo>
                    <a:pt x="370" y="96"/>
                  </a:lnTo>
                  <a:lnTo>
                    <a:pt x="354" y="86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4" y="34"/>
                  </a:lnTo>
                  <a:lnTo>
                    <a:pt x="372" y="28"/>
                  </a:lnTo>
                  <a:lnTo>
                    <a:pt x="368" y="22"/>
                  </a:lnTo>
                  <a:lnTo>
                    <a:pt x="362" y="18"/>
                  </a:lnTo>
                  <a:lnTo>
                    <a:pt x="318" y="2"/>
                  </a:lnTo>
                  <a:lnTo>
                    <a:pt x="318" y="2"/>
                  </a:lnTo>
                  <a:lnTo>
                    <a:pt x="312" y="0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0" y="6"/>
                  </a:lnTo>
                  <a:lnTo>
                    <a:pt x="296" y="12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60" y="56"/>
                  </a:lnTo>
                  <a:lnTo>
                    <a:pt x="244" y="56"/>
                  </a:lnTo>
                  <a:lnTo>
                    <a:pt x="226" y="56"/>
                  </a:lnTo>
                  <a:lnTo>
                    <a:pt x="208" y="60"/>
                  </a:lnTo>
                  <a:lnTo>
                    <a:pt x="188" y="14"/>
                  </a:lnTo>
                  <a:lnTo>
                    <a:pt x="188" y="14"/>
                  </a:lnTo>
                  <a:lnTo>
                    <a:pt x="184" y="10"/>
                  </a:lnTo>
                  <a:lnTo>
                    <a:pt x="178" y="6"/>
                  </a:lnTo>
                  <a:lnTo>
                    <a:pt x="178" y="6"/>
                  </a:lnTo>
                  <a:lnTo>
                    <a:pt x="172" y="4"/>
                  </a:lnTo>
                  <a:lnTo>
                    <a:pt x="166" y="6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16" y="30"/>
                  </a:lnTo>
                  <a:lnTo>
                    <a:pt x="114" y="36"/>
                  </a:lnTo>
                  <a:lnTo>
                    <a:pt x="112" y="42"/>
                  </a:lnTo>
                  <a:lnTo>
                    <a:pt x="114" y="48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0" y="104"/>
                  </a:lnTo>
                  <a:lnTo>
                    <a:pt x="108" y="116"/>
                  </a:lnTo>
                  <a:lnTo>
                    <a:pt x="96" y="130"/>
                  </a:lnTo>
                  <a:lnTo>
                    <a:pt x="86" y="14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2" y="126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2" y="132"/>
                  </a:lnTo>
                  <a:lnTo>
                    <a:pt x="18" y="136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8"/>
                  </a:lnTo>
                  <a:lnTo>
                    <a:pt x="2" y="194"/>
                  </a:lnTo>
                  <a:lnTo>
                    <a:pt x="4" y="200"/>
                  </a:lnTo>
                  <a:lnTo>
                    <a:pt x="10" y="204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4" y="238"/>
                  </a:lnTo>
                  <a:lnTo>
                    <a:pt x="54" y="256"/>
                  </a:lnTo>
                  <a:lnTo>
                    <a:pt x="56" y="274"/>
                  </a:lnTo>
                  <a:lnTo>
                    <a:pt x="58" y="292"/>
                  </a:lnTo>
                  <a:lnTo>
                    <a:pt x="14" y="312"/>
                  </a:lnTo>
                  <a:lnTo>
                    <a:pt x="14" y="312"/>
                  </a:lnTo>
                  <a:lnTo>
                    <a:pt x="8" y="316"/>
                  </a:lnTo>
                  <a:lnTo>
                    <a:pt x="4" y="320"/>
                  </a:lnTo>
                  <a:lnTo>
                    <a:pt x="4" y="320"/>
                  </a:lnTo>
                  <a:lnTo>
                    <a:pt x="4" y="328"/>
                  </a:lnTo>
                  <a:lnTo>
                    <a:pt x="6" y="334"/>
                  </a:lnTo>
                  <a:lnTo>
                    <a:pt x="24" y="378"/>
                  </a:lnTo>
                  <a:lnTo>
                    <a:pt x="24" y="378"/>
                  </a:lnTo>
                  <a:lnTo>
                    <a:pt x="28" y="382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40" y="388"/>
                  </a:lnTo>
                  <a:lnTo>
                    <a:pt x="48" y="386"/>
                  </a:lnTo>
                  <a:lnTo>
                    <a:pt x="92" y="366"/>
                  </a:lnTo>
                  <a:lnTo>
                    <a:pt x="92" y="366"/>
                  </a:lnTo>
                  <a:lnTo>
                    <a:pt x="104" y="380"/>
                  </a:lnTo>
                  <a:lnTo>
                    <a:pt x="116" y="392"/>
                  </a:lnTo>
                  <a:lnTo>
                    <a:pt x="128" y="404"/>
                  </a:lnTo>
                  <a:lnTo>
                    <a:pt x="144" y="414"/>
                  </a:lnTo>
                  <a:lnTo>
                    <a:pt x="126" y="460"/>
                  </a:lnTo>
                  <a:lnTo>
                    <a:pt x="126" y="460"/>
                  </a:lnTo>
                  <a:lnTo>
                    <a:pt x="126" y="466"/>
                  </a:lnTo>
                  <a:lnTo>
                    <a:pt x="126" y="472"/>
                  </a:lnTo>
                  <a:lnTo>
                    <a:pt x="130" y="478"/>
                  </a:lnTo>
                  <a:lnTo>
                    <a:pt x="136" y="482"/>
                  </a:lnTo>
                  <a:lnTo>
                    <a:pt x="180" y="498"/>
                  </a:lnTo>
                  <a:lnTo>
                    <a:pt x="180" y="498"/>
                  </a:lnTo>
                  <a:lnTo>
                    <a:pt x="186" y="500"/>
                  </a:lnTo>
                  <a:lnTo>
                    <a:pt x="186" y="500"/>
                  </a:lnTo>
                  <a:lnTo>
                    <a:pt x="194" y="498"/>
                  </a:lnTo>
                  <a:lnTo>
                    <a:pt x="194" y="498"/>
                  </a:lnTo>
                  <a:lnTo>
                    <a:pt x="198" y="494"/>
                  </a:lnTo>
                  <a:lnTo>
                    <a:pt x="202" y="488"/>
                  </a:lnTo>
                  <a:lnTo>
                    <a:pt x="220" y="442"/>
                  </a:lnTo>
                  <a:lnTo>
                    <a:pt x="220" y="442"/>
                  </a:lnTo>
                  <a:lnTo>
                    <a:pt x="238" y="444"/>
                  </a:lnTo>
                  <a:lnTo>
                    <a:pt x="256" y="444"/>
                  </a:lnTo>
                  <a:lnTo>
                    <a:pt x="272" y="444"/>
                  </a:lnTo>
                  <a:lnTo>
                    <a:pt x="290" y="440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4" y="490"/>
                  </a:lnTo>
                  <a:lnTo>
                    <a:pt x="320" y="494"/>
                  </a:lnTo>
                  <a:lnTo>
                    <a:pt x="320" y="494"/>
                  </a:lnTo>
                  <a:lnTo>
                    <a:pt x="326" y="496"/>
                  </a:lnTo>
                  <a:lnTo>
                    <a:pt x="332" y="494"/>
                  </a:lnTo>
                  <a:lnTo>
                    <a:pt x="376" y="474"/>
                  </a:lnTo>
                  <a:lnTo>
                    <a:pt x="376" y="474"/>
                  </a:lnTo>
                  <a:lnTo>
                    <a:pt x="382" y="470"/>
                  </a:lnTo>
                  <a:lnTo>
                    <a:pt x="384" y="464"/>
                  </a:lnTo>
                  <a:lnTo>
                    <a:pt x="386" y="458"/>
                  </a:lnTo>
                  <a:lnTo>
                    <a:pt x="384" y="452"/>
                  </a:lnTo>
                  <a:lnTo>
                    <a:pt x="384" y="452"/>
                  </a:lnTo>
                  <a:close/>
                  <a:moveTo>
                    <a:pt x="356" y="290"/>
                  </a:moveTo>
                  <a:lnTo>
                    <a:pt x="356" y="290"/>
                  </a:lnTo>
                  <a:lnTo>
                    <a:pt x="348" y="306"/>
                  </a:lnTo>
                  <a:lnTo>
                    <a:pt x="340" y="322"/>
                  </a:lnTo>
                  <a:lnTo>
                    <a:pt x="328" y="334"/>
                  </a:lnTo>
                  <a:lnTo>
                    <a:pt x="314" y="344"/>
                  </a:lnTo>
                  <a:lnTo>
                    <a:pt x="300" y="354"/>
                  </a:lnTo>
                  <a:lnTo>
                    <a:pt x="284" y="360"/>
                  </a:lnTo>
                  <a:lnTo>
                    <a:pt x="266" y="364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8" y="364"/>
                  </a:lnTo>
                  <a:lnTo>
                    <a:pt x="208" y="358"/>
                  </a:lnTo>
                  <a:lnTo>
                    <a:pt x="208" y="358"/>
                  </a:lnTo>
                  <a:lnTo>
                    <a:pt x="188" y="348"/>
                  </a:lnTo>
                  <a:lnTo>
                    <a:pt x="170" y="334"/>
                  </a:lnTo>
                  <a:lnTo>
                    <a:pt x="156" y="316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38" y="276"/>
                  </a:lnTo>
                  <a:lnTo>
                    <a:pt x="134" y="254"/>
                  </a:lnTo>
                  <a:lnTo>
                    <a:pt x="136" y="232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50" y="194"/>
                  </a:lnTo>
                  <a:lnTo>
                    <a:pt x="158" y="180"/>
                  </a:lnTo>
                  <a:lnTo>
                    <a:pt x="170" y="166"/>
                  </a:lnTo>
                  <a:lnTo>
                    <a:pt x="184" y="156"/>
                  </a:lnTo>
                  <a:lnTo>
                    <a:pt x="198" y="146"/>
                  </a:lnTo>
                  <a:lnTo>
                    <a:pt x="214" y="140"/>
                  </a:lnTo>
                  <a:lnTo>
                    <a:pt x="232" y="136"/>
                  </a:lnTo>
                  <a:lnTo>
                    <a:pt x="250" y="136"/>
                  </a:lnTo>
                  <a:lnTo>
                    <a:pt x="250" y="136"/>
                  </a:lnTo>
                  <a:lnTo>
                    <a:pt x="270" y="138"/>
                  </a:lnTo>
                  <a:lnTo>
                    <a:pt x="290" y="142"/>
                  </a:lnTo>
                  <a:lnTo>
                    <a:pt x="290" y="142"/>
                  </a:lnTo>
                  <a:lnTo>
                    <a:pt x="310" y="152"/>
                  </a:lnTo>
                  <a:lnTo>
                    <a:pt x="328" y="166"/>
                  </a:lnTo>
                  <a:lnTo>
                    <a:pt x="342" y="184"/>
                  </a:lnTo>
                  <a:lnTo>
                    <a:pt x="354" y="202"/>
                  </a:lnTo>
                  <a:lnTo>
                    <a:pt x="354" y="202"/>
                  </a:lnTo>
                  <a:lnTo>
                    <a:pt x="362" y="224"/>
                  </a:lnTo>
                  <a:lnTo>
                    <a:pt x="364" y="246"/>
                  </a:lnTo>
                  <a:lnTo>
                    <a:pt x="362" y="268"/>
                  </a:lnTo>
                  <a:lnTo>
                    <a:pt x="356" y="290"/>
                  </a:lnTo>
                  <a:lnTo>
                    <a:pt x="356" y="290"/>
                  </a:lnTo>
                  <a:close/>
                  <a:moveTo>
                    <a:pt x="734" y="522"/>
                  </a:moveTo>
                  <a:lnTo>
                    <a:pt x="734" y="522"/>
                  </a:lnTo>
                  <a:lnTo>
                    <a:pt x="728" y="518"/>
                  </a:lnTo>
                  <a:lnTo>
                    <a:pt x="722" y="516"/>
                  </a:lnTo>
                  <a:lnTo>
                    <a:pt x="690" y="516"/>
                  </a:lnTo>
                  <a:lnTo>
                    <a:pt x="690" y="516"/>
                  </a:lnTo>
                  <a:lnTo>
                    <a:pt x="684" y="494"/>
                  </a:lnTo>
                  <a:lnTo>
                    <a:pt x="674" y="472"/>
                  </a:lnTo>
                  <a:lnTo>
                    <a:pt x="698" y="450"/>
                  </a:lnTo>
                  <a:lnTo>
                    <a:pt x="698" y="450"/>
                  </a:lnTo>
                  <a:lnTo>
                    <a:pt x="702" y="446"/>
                  </a:lnTo>
                  <a:lnTo>
                    <a:pt x="702" y="438"/>
                  </a:lnTo>
                  <a:lnTo>
                    <a:pt x="702" y="432"/>
                  </a:lnTo>
                  <a:lnTo>
                    <a:pt x="698" y="426"/>
                  </a:lnTo>
                  <a:lnTo>
                    <a:pt x="676" y="402"/>
                  </a:lnTo>
                  <a:lnTo>
                    <a:pt x="676" y="402"/>
                  </a:lnTo>
                  <a:lnTo>
                    <a:pt x="670" y="398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56" y="396"/>
                  </a:lnTo>
                  <a:lnTo>
                    <a:pt x="652" y="400"/>
                  </a:lnTo>
                  <a:lnTo>
                    <a:pt x="628" y="422"/>
                  </a:lnTo>
                  <a:lnTo>
                    <a:pt x="628" y="422"/>
                  </a:lnTo>
                  <a:lnTo>
                    <a:pt x="608" y="410"/>
                  </a:lnTo>
                  <a:lnTo>
                    <a:pt x="586" y="402"/>
                  </a:lnTo>
                  <a:lnTo>
                    <a:pt x="588" y="370"/>
                  </a:lnTo>
                  <a:lnTo>
                    <a:pt x="588" y="370"/>
                  </a:lnTo>
                  <a:lnTo>
                    <a:pt x="586" y="364"/>
                  </a:lnTo>
                  <a:lnTo>
                    <a:pt x="582" y="358"/>
                  </a:lnTo>
                  <a:lnTo>
                    <a:pt x="578" y="354"/>
                  </a:lnTo>
                  <a:lnTo>
                    <a:pt x="572" y="352"/>
                  </a:lnTo>
                  <a:lnTo>
                    <a:pt x="536" y="352"/>
                  </a:lnTo>
                  <a:lnTo>
                    <a:pt x="536" y="352"/>
                  </a:lnTo>
                  <a:lnTo>
                    <a:pt x="530" y="352"/>
                  </a:lnTo>
                  <a:lnTo>
                    <a:pt x="524" y="356"/>
                  </a:lnTo>
                  <a:lnTo>
                    <a:pt x="520" y="362"/>
                  </a:lnTo>
                  <a:lnTo>
                    <a:pt x="520" y="368"/>
                  </a:lnTo>
                  <a:lnTo>
                    <a:pt x="518" y="400"/>
                  </a:lnTo>
                  <a:lnTo>
                    <a:pt x="518" y="400"/>
                  </a:lnTo>
                  <a:lnTo>
                    <a:pt x="496" y="406"/>
                  </a:lnTo>
                  <a:lnTo>
                    <a:pt x="474" y="416"/>
                  </a:lnTo>
                  <a:lnTo>
                    <a:pt x="454" y="392"/>
                  </a:lnTo>
                  <a:lnTo>
                    <a:pt x="454" y="392"/>
                  </a:lnTo>
                  <a:lnTo>
                    <a:pt x="448" y="388"/>
                  </a:lnTo>
                  <a:lnTo>
                    <a:pt x="442" y="386"/>
                  </a:lnTo>
                  <a:lnTo>
                    <a:pt x="442" y="386"/>
                  </a:lnTo>
                  <a:lnTo>
                    <a:pt x="434" y="388"/>
                  </a:lnTo>
                  <a:lnTo>
                    <a:pt x="430" y="390"/>
                  </a:lnTo>
                  <a:lnTo>
                    <a:pt x="404" y="414"/>
                  </a:lnTo>
                  <a:lnTo>
                    <a:pt x="404" y="414"/>
                  </a:lnTo>
                  <a:lnTo>
                    <a:pt x="400" y="420"/>
                  </a:lnTo>
                  <a:lnTo>
                    <a:pt x="398" y="426"/>
                  </a:lnTo>
                  <a:lnTo>
                    <a:pt x="400" y="432"/>
                  </a:lnTo>
                  <a:lnTo>
                    <a:pt x="402" y="438"/>
                  </a:lnTo>
                  <a:lnTo>
                    <a:pt x="424" y="462"/>
                  </a:lnTo>
                  <a:lnTo>
                    <a:pt x="424" y="462"/>
                  </a:lnTo>
                  <a:lnTo>
                    <a:pt x="412" y="482"/>
                  </a:lnTo>
                  <a:lnTo>
                    <a:pt x="404" y="504"/>
                  </a:lnTo>
                  <a:lnTo>
                    <a:pt x="372" y="502"/>
                  </a:lnTo>
                  <a:lnTo>
                    <a:pt x="372" y="502"/>
                  </a:lnTo>
                  <a:lnTo>
                    <a:pt x="366" y="502"/>
                  </a:lnTo>
                  <a:lnTo>
                    <a:pt x="360" y="506"/>
                  </a:lnTo>
                  <a:lnTo>
                    <a:pt x="356" y="512"/>
                  </a:lnTo>
                  <a:lnTo>
                    <a:pt x="356" y="518"/>
                  </a:lnTo>
                  <a:lnTo>
                    <a:pt x="354" y="552"/>
                  </a:lnTo>
                  <a:lnTo>
                    <a:pt x="354" y="552"/>
                  </a:lnTo>
                  <a:lnTo>
                    <a:pt x="354" y="558"/>
                  </a:lnTo>
                  <a:lnTo>
                    <a:pt x="358" y="564"/>
                  </a:lnTo>
                  <a:lnTo>
                    <a:pt x="358" y="564"/>
                  </a:lnTo>
                  <a:lnTo>
                    <a:pt x="364" y="568"/>
                  </a:lnTo>
                  <a:lnTo>
                    <a:pt x="370" y="570"/>
                  </a:lnTo>
                  <a:lnTo>
                    <a:pt x="402" y="572"/>
                  </a:lnTo>
                  <a:lnTo>
                    <a:pt x="402" y="572"/>
                  </a:lnTo>
                  <a:lnTo>
                    <a:pt x="408" y="594"/>
                  </a:lnTo>
                  <a:lnTo>
                    <a:pt x="418" y="614"/>
                  </a:lnTo>
                  <a:lnTo>
                    <a:pt x="394" y="636"/>
                  </a:lnTo>
                  <a:lnTo>
                    <a:pt x="394" y="636"/>
                  </a:lnTo>
                  <a:lnTo>
                    <a:pt x="390" y="642"/>
                  </a:lnTo>
                  <a:lnTo>
                    <a:pt x="388" y="648"/>
                  </a:lnTo>
                  <a:lnTo>
                    <a:pt x="388" y="648"/>
                  </a:lnTo>
                  <a:lnTo>
                    <a:pt x="390" y="654"/>
                  </a:lnTo>
                  <a:lnTo>
                    <a:pt x="394" y="660"/>
                  </a:lnTo>
                  <a:lnTo>
                    <a:pt x="416" y="686"/>
                  </a:lnTo>
                  <a:lnTo>
                    <a:pt x="416" y="686"/>
                  </a:lnTo>
                  <a:lnTo>
                    <a:pt x="422" y="690"/>
                  </a:lnTo>
                  <a:lnTo>
                    <a:pt x="428" y="690"/>
                  </a:lnTo>
                  <a:lnTo>
                    <a:pt x="428" y="690"/>
                  </a:lnTo>
                  <a:lnTo>
                    <a:pt x="434" y="690"/>
                  </a:lnTo>
                  <a:lnTo>
                    <a:pt x="440" y="686"/>
                  </a:lnTo>
                  <a:lnTo>
                    <a:pt x="464" y="664"/>
                  </a:lnTo>
                  <a:lnTo>
                    <a:pt x="464" y="664"/>
                  </a:lnTo>
                  <a:lnTo>
                    <a:pt x="484" y="676"/>
                  </a:lnTo>
                  <a:lnTo>
                    <a:pt x="506" y="684"/>
                  </a:lnTo>
                  <a:lnTo>
                    <a:pt x="504" y="716"/>
                  </a:lnTo>
                  <a:lnTo>
                    <a:pt x="504" y="716"/>
                  </a:lnTo>
                  <a:lnTo>
                    <a:pt x="506" y="722"/>
                  </a:lnTo>
                  <a:lnTo>
                    <a:pt x="508" y="728"/>
                  </a:lnTo>
                  <a:lnTo>
                    <a:pt x="514" y="732"/>
                  </a:lnTo>
                  <a:lnTo>
                    <a:pt x="520" y="734"/>
                  </a:lnTo>
                  <a:lnTo>
                    <a:pt x="554" y="736"/>
                  </a:lnTo>
                  <a:lnTo>
                    <a:pt x="554" y="736"/>
                  </a:lnTo>
                  <a:lnTo>
                    <a:pt x="556" y="736"/>
                  </a:lnTo>
                  <a:lnTo>
                    <a:pt x="556" y="736"/>
                  </a:lnTo>
                  <a:lnTo>
                    <a:pt x="562" y="734"/>
                  </a:lnTo>
                  <a:lnTo>
                    <a:pt x="568" y="730"/>
                  </a:lnTo>
                  <a:lnTo>
                    <a:pt x="568" y="730"/>
                  </a:lnTo>
                  <a:lnTo>
                    <a:pt x="570" y="726"/>
                  </a:lnTo>
                  <a:lnTo>
                    <a:pt x="572" y="720"/>
                  </a:lnTo>
                  <a:lnTo>
                    <a:pt x="574" y="688"/>
                  </a:lnTo>
                  <a:lnTo>
                    <a:pt x="574" y="688"/>
                  </a:lnTo>
                  <a:lnTo>
                    <a:pt x="596" y="682"/>
                  </a:lnTo>
                  <a:lnTo>
                    <a:pt x="616" y="672"/>
                  </a:lnTo>
                  <a:lnTo>
                    <a:pt x="638" y="696"/>
                  </a:lnTo>
                  <a:lnTo>
                    <a:pt x="638" y="696"/>
                  </a:lnTo>
                  <a:lnTo>
                    <a:pt x="644" y="698"/>
                  </a:lnTo>
                  <a:lnTo>
                    <a:pt x="650" y="700"/>
                  </a:lnTo>
                  <a:lnTo>
                    <a:pt x="650" y="700"/>
                  </a:lnTo>
                  <a:lnTo>
                    <a:pt x="656" y="700"/>
                  </a:lnTo>
                  <a:lnTo>
                    <a:pt x="662" y="696"/>
                  </a:lnTo>
                  <a:lnTo>
                    <a:pt x="688" y="672"/>
                  </a:lnTo>
                  <a:lnTo>
                    <a:pt x="688" y="672"/>
                  </a:lnTo>
                  <a:lnTo>
                    <a:pt x="692" y="668"/>
                  </a:lnTo>
                  <a:lnTo>
                    <a:pt x="694" y="660"/>
                  </a:lnTo>
                  <a:lnTo>
                    <a:pt x="692" y="654"/>
                  </a:lnTo>
                  <a:lnTo>
                    <a:pt x="688" y="648"/>
                  </a:lnTo>
                  <a:lnTo>
                    <a:pt x="668" y="626"/>
                  </a:lnTo>
                  <a:lnTo>
                    <a:pt x="668" y="626"/>
                  </a:lnTo>
                  <a:lnTo>
                    <a:pt x="678" y="606"/>
                  </a:lnTo>
                  <a:lnTo>
                    <a:pt x="686" y="584"/>
                  </a:lnTo>
                  <a:lnTo>
                    <a:pt x="718" y="586"/>
                  </a:lnTo>
                  <a:lnTo>
                    <a:pt x="718" y="586"/>
                  </a:lnTo>
                  <a:lnTo>
                    <a:pt x="726" y="584"/>
                  </a:lnTo>
                  <a:lnTo>
                    <a:pt x="730" y="580"/>
                  </a:lnTo>
                  <a:lnTo>
                    <a:pt x="734" y="576"/>
                  </a:lnTo>
                  <a:lnTo>
                    <a:pt x="736" y="568"/>
                  </a:lnTo>
                  <a:lnTo>
                    <a:pt x="738" y="534"/>
                  </a:lnTo>
                  <a:lnTo>
                    <a:pt x="738" y="534"/>
                  </a:lnTo>
                  <a:lnTo>
                    <a:pt x="736" y="528"/>
                  </a:lnTo>
                  <a:lnTo>
                    <a:pt x="734" y="522"/>
                  </a:lnTo>
                  <a:lnTo>
                    <a:pt x="734" y="522"/>
                  </a:lnTo>
                  <a:close/>
                  <a:moveTo>
                    <a:pt x="542" y="622"/>
                  </a:moveTo>
                  <a:lnTo>
                    <a:pt x="542" y="622"/>
                  </a:lnTo>
                  <a:lnTo>
                    <a:pt x="526" y="620"/>
                  </a:lnTo>
                  <a:lnTo>
                    <a:pt x="512" y="614"/>
                  </a:lnTo>
                  <a:lnTo>
                    <a:pt x="498" y="606"/>
                  </a:lnTo>
                  <a:lnTo>
                    <a:pt x="488" y="596"/>
                  </a:lnTo>
                  <a:lnTo>
                    <a:pt x="478" y="584"/>
                  </a:lnTo>
                  <a:lnTo>
                    <a:pt x="472" y="570"/>
                  </a:lnTo>
                  <a:lnTo>
                    <a:pt x="468" y="556"/>
                  </a:lnTo>
                  <a:lnTo>
                    <a:pt x="466" y="540"/>
                  </a:lnTo>
                  <a:lnTo>
                    <a:pt x="466" y="540"/>
                  </a:lnTo>
                  <a:lnTo>
                    <a:pt x="468" y="524"/>
                  </a:lnTo>
                  <a:lnTo>
                    <a:pt x="474" y="510"/>
                  </a:lnTo>
                  <a:lnTo>
                    <a:pt x="482" y="498"/>
                  </a:lnTo>
                  <a:lnTo>
                    <a:pt x="492" y="486"/>
                  </a:lnTo>
                  <a:lnTo>
                    <a:pt x="502" y="478"/>
                  </a:lnTo>
                  <a:lnTo>
                    <a:pt x="516" y="470"/>
                  </a:lnTo>
                  <a:lnTo>
                    <a:pt x="530" y="466"/>
                  </a:lnTo>
                  <a:lnTo>
                    <a:pt x="546" y="464"/>
                  </a:lnTo>
                  <a:lnTo>
                    <a:pt x="546" y="464"/>
                  </a:lnTo>
                  <a:lnTo>
                    <a:pt x="550" y="464"/>
                  </a:lnTo>
                  <a:lnTo>
                    <a:pt x="550" y="464"/>
                  </a:lnTo>
                  <a:lnTo>
                    <a:pt x="564" y="466"/>
                  </a:lnTo>
                  <a:lnTo>
                    <a:pt x="580" y="472"/>
                  </a:lnTo>
                  <a:lnTo>
                    <a:pt x="592" y="480"/>
                  </a:lnTo>
                  <a:lnTo>
                    <a:pt x="604" y="490"/>
                  </a:lnTo>
                  <a:lnTo>
                    <a:pt x="614" y="502"/>
                  </a:lnTo>
                  <a:lnTo>
                    <a:pt x="620" y="516"/>
                  </a:lnTo>
                  <a:lnTo>
                    <a:pt x="624" y="530"/>
                  </a:lnTo>
                  <a:lnTo>
                    <a:pt x="624" y="546"/>
                  </a:lnTo>
                  <a:lnTo>
                    <a:pt x="624" y="546"/>
                  </a:lnTo>
                  <a:lnTo>
                    <a:pt x="622" y="562"/>
                  </a:lnTo>
                  <a:lnTo>
                    <a:pt x="618" y="578"/>
                  </a:lnTo>
                  <a:lnTo>
                    <a:pt x="610" y="590"/>
                  </a:lnTo>
                  <a:lnTo>
                    <a:pt x="600" y="602"/>
                  </a:lnTo>
                  <a:lnTo>
                    <a:pt x="588" y="610"/>
                  </a:lnTo>
                  <a:lnTo>
                    <a:pt x="574" y="618"/>
                  </a:lnTo>
                  <a:lnTo>
                    <a:pt x="558" y="622"/>
                  </a:lnTo>
                  <a:lnTo>
                    <a:pt x="542" y="622"/>
                  </a:lnTo>
                  <a:lnTo>
                    <a:pt x="542" y="622"/>
                  </a:lnTo>
                  <a:close/>
                  <a:moveTo>
                    <a:pt x="542" y="622"/>
                  </a:moveTo>
                  <a:lnTo>
                    <a:pt x="542" y="622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auto">
            <a:xfrm>
              <a:off x="5045075" y="-299522"/>
              <a:ext cx="790575" cy="793750"/>
            </a:xfrm>
            <a:custGeom>
              <a:avLst/>
              <a:gdLst>
                <a:gd name="T0" fmla="*/ 364 w 498"/>
                <a:gd name="T1" fmla="*/ 408 h 500"/>
                <a:gd name="T2" fmla="*/ 402 w 498"/>
                <a:gd name="T3" fmla="*/ 370 h 500"/>
                <a:gd name="T4" fmla="*/ 458 w 498"/>
                <a:gd name="T5" fmla="*/ 374 h 500"/>
                <a:gd name="T6" fmla="*/ 478 w 498"/>
                <a:gd name="T7" fmla="*/ 368 h 500"/>
                <a:gd name="T8" fmla="*/ 498 w 498"/>
                <a:gd name="T9" fmla="*/ 318 h 500"/>
                <a:gd name="T10" fmla="*/ 498 w 498"/>
                <a:gd name="T11" fmla="*/ 306 h 500"/>
                <a:gd name="T12" fmla="*/ 442 w 498"/>
                <a:gd name="T13" fmla="*/ 280 h 500"/>
                <a:gd name="T14" fmla="*/ 444 w 498"/>
                <a:gd name="T15" fmla="*/ 244 h 500"/>
                <a:gd name="T16" fmla="*/ 484 w 498"/>
                <a:gd name="T17" fmla="*/ 188 h 500"/>
                <a:gd name="T18" fmla="*/ 494 w 498"/>
                <a:gd name="T19" fmla="*/ 180 h 500"/>
                <a:gd name="T20" fmla="*/ 492 w 498"/>
                <a:gd name="T21" fmla="*/ 166 h 500"/>
                <a:gd name="T22" fmla="*/ 470 w 498"/>
                <a:gd name="T23" fmla="*/ 118 h 500"/>
                <a:gd name="T24" fmla="*/ 450 w 498"/>
                <a:gd name="T25" fmla="*/ 114 h 500"/>
                <a:gd name="T26" fmla="*/ 396 w 498"/>
                <a:gd name="T27" fmla="*/ 120 h 500"/>
                <a:gd name="T28" fmla="*/ 354 w 498"/>
                <a:gd name="T29" fmla="*/ 86 h 500"/>
                <a:gd name="T30" fmla="*/ 374 w 498"/>
                <a:gd name="T31" fmla="*/ 34 h 500"/>
                <a:gd name="T32" fmla="*/ 362 w 498"/>
                <a:gd name="T33" fmla="*/ 18 h 500"/>
                <a:gd name="T34" fmla="*/ 312 w 498"/>
                <a:gd name="T35" fmla="*/ 0 h 500"/>
                <a:gd name="T36" fmla="*/ 300 w 498"/>
                <a:gd name="T37" fmla="*/ 6 h 500"/>
                <a:gd name="T38" fmla="*/ 278 w 498"/>
                <a:gd name="T39" fmla="*/ 58 h 500"/>
                <a:gd name="T40" fmla="*/ 226 w 498"/>
                <a:gd name="T41" fmla="*/ 56 h 500"/>
                <a:gd name="T42" fmla="*/ 188 w 498"/>
                <a:gd name="T43" fmla="*/ 14 h 500"/>
                <a:gd name="T44" fmla="*/ 178 w 498"/>
                <a:gd name="T45" fmla="*/ 6 h 500"/>
                <a:gd name="T46" fmla="*/ 122 w 498"/>
                <a:gd name="T47" fmla="*/ 26 h 500"/>
                <a:gd name="T48" fmla="*/ 114 w 498"/>
                <a:gd name="T49" fmla="*/ 36 h 500"/>
                <a:gd name="T50" fmla="*/ 134 w 498"/>
                <a:gd name="T51" fmla="*/ 92 h 500"/>
                <a:gd name="T52" fmla="*/ 108 w 498"/>
                <a:gd name="T53" fmla="*/ 116 h 500"/>
                <a:gd name="T54" fmla="*/ 40 w 498"/>
                <a:gd name="T55" fmla="*/ 128 h 500"/>
                <a:gd name="T56" fmla="*/ 26 w 498"/>
                <a:gd name="T57" fmla="*/ 128 h 500"/>
                <a:gd name="T58" fmla="*/ 18 w 498"/>
                <a:gd name="T59" fmla="*/ 136 h 500"/>
                <a:gd name="T60" fmla="*/ 0 w 498"/>
                <a:gd name="T61" fmla="*/ 188 h 500"/>
                <a:gd name="T62" fmla="*/ 10 w 498"/>
                <a:gd name="T63" fmla="*/ 204 h 500"/>
                <a:gd name="T64" fmla="*/ 54 w 498"/>
                <a:gd name="T65" fmla="*/ 238 h 500"/>
                <a:gd name="T66" fmla="*/ 58 w 498"/>
                <a:gd name="T67" fmla="*/ 292 h 500"/>
                <a:gd name="T68" fmla="*/ 8 w 498"/>
                <a:gd name="T69" fmla="*/ 316 h 500"/>
                <a:gd name="T70" fmla="*/ 4 w 498"/>
                <a:gd name="T71" fmla="*/ 328 h 500"/>
                <a:gd name="T72" fmla="*/ 24 w 498"/>
                <a:gd name="T73" fmla="*/ 378 h 500"/>
                <a:gd name="T74" fmla="*/ 34 w 498"/>
                <a:gd name="T75" fmla="*/ 386 h 500"/>
                <a:gd name="T76" fmla="*/ 92 w 498"/>
                <a:gd name="T77" fmla="*/ 366 h 500"/>
                <a:gd name="T78" fmla="*/ 116 w 498"/>
                <a:gd name="T79" fmla="*/ 392 h 500"/>
                <a:gd name="T80" fmla="*/ 126 w 498"/>
                <a:gd name="T81" fmla="*/ 460 h 500"/>
                <a:gd name="T82" fmla="*/ 126 w 498"/>
                <a:gd name="T83" fmla="*/ 472 h 500"/>
                <a:gd name="T84" fmla="*/ 180 w 498"/>
                <a:gd name="T85" fmla="*/ 498 h 500"/>
                <a:gd name="T86" fmla="*/ 186 w 498"/>
                <a:gd name="T87" fmla="*/ 500 h 500"/>
                <a:gd name="T88" fmla="*/ 198 w 498"/>
                <a:gd name="T89" fmla="*/ 494 h 500"/>
                <a:gd name="T90" fmla="*/ 220 w 498"/>
                <a:gd name="T91" fmla="*/ 442 h 500"/>
                <a:gd name="T92" fmla="*/ 272 w 498"/>
                <a:gd name="T93" fmla="*/ 444 h 500"/>
                <a:gd name="T94" fmla="*/ 310 w 498"/>
                <a:gd name="T95" fmla="*/ 486 h 500"/>
                <a:gd name="T96" fmla="*/ 320 w 498"/>
                <a:gd name="T97" fmla="*/ 494 h 500"/>
                <a:gd name="T98" fmla="*/ 376 w 498"/>
                <a:gd name="T99" fmla="*/ 474 h 500"/>
                <a:gd name="T100" fmla="*/ 384 w 498"/>
                <a:gd name="T101" fmla="*/ 464 h 500"/>
                <a:gd name="T102" fmla="*/ 384 w 498"/>
                <a:gd name="T103" fmla="*/ 452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98" h="500">
                  <a:moveTo>
                    <a:pt x="384" y="452"/>
                  </a:moveTo>
                  <a:lnTo>
                    <a:pt x="364" y="408"/>
                  </a:lnTo>
                  <a:lnTo>
                    <a:pt x="364" y="408"/>
                  </a:lnTo>
                  <a:lnTo>
                    <a:pt x="378" y="396"/>
                  </a:lnTo>
                  <a:lnTo>
                    <a:pt x="392" y="384"/>
                  </a:lnTo>
                  <a:lnTo>
                    <a:pt x="402" y="370"/>
                  </a:lnTo>
                  <a:lnTo>
                    <a:pt x="412" y="356"/>
                  </a:lnTo>
                  <a:lnTo>
                    <a:pt x="458" y="374"/>
                  </a:lnTo>
                  <a:lnTo>
                    <a:pt x="458" y="374"/>
                  </a:lnTo>
                  <a:lnTo>
                    <a:pt x="466" y="374"/>
                  </a:lnTo>
                  <a:lnTo>
                    <a:pt x="472" y="372"/>
                  </a:lnTo>
                  <a:lnTo>
                    <a:pt x="478" y="368"/>
                  </a:lnTo>
                  <a:lnTo>
                    <a:pt x="480" y="364"/>
                  </a:lnTo>
                  <a:lnTo>
                    <a:pt x="498" y="318"/>
                  </a:lnTo>
                  <a:lnTo>
                    <a:pt x="498" y="318"/>
                  </a:lnTo>
                  <a:lnTo>
                    <a:pt x="498" y="312"/>
                  </a:lnTo>
                  <a:lnTo>
                    <a:pt x="498" y="306"/>
                  </a:lnTo>
                  <a:lnTo>
                    <a:pt x="498" y="306"/>
                  </a:lnTo>
                  <a:lnTo>
                    <a:pt x="494" y="300"/>
                  </a:lnTo>
                  <a:lnTo>
                    <a:pt x="488" y="296"/>
                  </a:lnTo>
                  <a:lnTo>
                    <a:pt x="442" y="280"/>
                  </a:lnTo>
                  <a:lnTo>
                    <a:pt x="442" y="280"/>
                  </a:lnTo>
                  <a:lnTo>
                    <a:pt x="444" y="262"/>
                  </a:lnTo>
                  <a:lnTo>
                    <a:pt x="444" y="244"/>
                  </a:lnTo>
                  <a:lnTo>
                    <a:pt x="442" y="226"/>
                  </a:lnTo>
                  <a:lnTo>
                    <a:pt x="440" y="208"/>
                  </a:lnTo>
                  <a:lnTo>
                    <a:pt x="484" y="188"/>
                  </a:lnTo>
                  <a:lnTo>
                    <a:pt x="484" y="188"/>
                  </a:lnTo>
                  <a:lnTo>
                    <a:pt x="490" y="184"/>
                  </a:lnTo>
                  <a:lnTo>
                    <a:pt x="494" y="180"/>
                  </a:lnTo>
                  <a:lnTo>
                    <a:pt x="494" y="180"/>
                  </a:lnTo>
                  <a:lnTo>
                    <a:pt x="494" y="172"/>
                  </a:lnTo>
                  <a:lnTo>
                    <a:pt x="492" y="166"/>
                  </a:lnTo>
                  <a:lnTo>
                    <a:pt x="474" y="124"/>
                  </a:lnTo>
                  <a:lnTo>
                    <a:pt x="474" y="124"/>
                  </a:lnTo>
                  <a:lnTo>
                    <a:pt x="470" y="118"/>
                  </a:lnTo>
                  <a:lnTo>
                    <a:pt x="464" y="114"/>
                  </a:lnTo>
                  <a:lnTo>
                    <a:pt x="458" y="114"/>
                  </a:lnTo>
                  <a:lnTo>
                    <a:pt x="450" y="114"/>
                  </a:lnTo>
                  <a:lnTo>
                    <a:pt x="406" y="134"/>
                  </a:lnTo>
                  <a:lnTo>
                    <a:pt x="406" y="134"/>
                  </a:lnTo>
                  <a:lnTo>
                    <a:pt x="396" y="120"/>
                  </a:lnTo>
                  <a:lnTo>
                    <a:pt x="382" y="108"/>
                  </a:lnTo>
                  <a:lnTo>
                    <a:pt x="370" y="96"/>
                  </a:lnTo>
                  <a:lnTo>
                    <a:pt x="354" y="86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4" y="34"/>
                  </a:lnTo>
                  <a:lnTo>
                    <a:pt x="372" y="28"/>
                  </a:lnTo>
                  <a:lnTo>
                    <a:pt x="368" y="22"/>
                  </a:lnTo>
                  <a:lnTo>
                    <a:pt x="362" y="18"/>
                  </a:lnTo>
                  <a:lnTo>
                    <a:pt x="318" y="2"/>
                  </a:lnTo>
                  <a:lnTo>
                    <a:pt x="318" y="2"/>
                  </a:lnTo>
                  <a:lnTo>
                    <a:pt x="312" y="0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0" y="6"/>
                  </a:lnTo>
                  <a:lnTo>
                    <a:pt x="296" y="12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60" y="56"/>
                  </a:lnTo>
                  <a:lnTo>
                    <a:pt x="244" y="56"/>
                  </a:lnTo>
                  <a:lnTo>
                    <a:pt x="226" y="56"/>
                  </a:lnTo>
                  <a:lnTo>
                    <a:pt x="208" y="60"/>
                  </a:lnTo>
                  <a:lnTo>
                    <a:pt x="188" y="14"/>
                  </a:lnTo>
                  <a:lnTo>
                    <a:pt x="188" y="14"/>
                  </a:lnTo>
                  <a:lnTo>
                    <a:pt x="184" y="10"/>
                  </a:lnTo>
                  <a:lnTo>
                    <a:pt x="178" y="6"/>
                  </a:lnTo>
                  <a:lnTo>
                    <a:pt x="178" y="6"/>
                  </a:lnTo>
                  <a:lnTo>
                    <a:pt x="172" y="4"/>
                  </a:lnTo>
                  <a:lnTo>
                    <a:pt x="166" y="6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16" y="30"/>
                  </a:lnTo>
                  <a:lnTo>
                    <a:pt x="114" y="36"/>
                  </a:lnTo>
                  <a:lnTo>
                    <a:pt x="112" y="42"/>
                  </a:lnTo>
                  <a:lnTo>
                    <a:pt x="114" y="48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0" y="104"/>
                  </a:lnTo>
                  <a:lnTo>
                    <a:pt x="108" y="116"/>
                  </a:lnTo>
                  <a:lnTo>
                    <a:pt x="96" y="130"/>
                  </a:lnTo>
                  <a:lnTo>
                    <a:pt x="86" y="14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2" y="126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2" y="132"/>
                  </a:lnTo>
                  <a:lnTo>
                    <a:pt x="18" y="136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8"/>
                  </a:lnTo>
                  <a:lnTo>
                    <a:pt x="2" y="194"/>
                  </a:lnTo>
                  <a:lnTo>
                    <a:pt x="4" y="200"/>
                  </a:lnTo>
                  <a:lnTo>
                    <a:pt x="10" y="204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4" y="238"/>
                  </a:lnTo>
                  <a:lnTo>
                    <a:pt x="54" y="256"/>
                  </a:lnTo>
                  <a:lnTo>
                    <a:pt x="56" y="274"/>
                  </a:lnTo>
                  <a:lnTo>
                    <a:pt x="58" y="292"/>
                  </a:lnTo>
                  <a:lnTo>
                    <a:pt x="14" y="312"/>
                  </a:lnTo>
                  <a:lnTo>
                    <a:pt x="14" y="312"/>
                  </a:lnTo>
                  <a:lnTo>
                    <a:pt x="8" y="316"/>
                  </a:lnTo>
                  <a:lnTo>
                    <a:pt x="4" y="320"/>
                  </a:lnTo>
                  <a:lnTo>
                    <a:pt x="4" y="320"/>
                  </a:lnTo>
                  <a:lnTo>
                    <a:pt x="4" y="328"/>
                  </a:lnTo>
                  <a:lnTo>
                    <a:pt x="6" y="334"/>
                  </a:lnTo>
                  <a:lnTo>
                    <a:pt x="24" y="378"/>
                  </a:lnTo>
                  <a:lnTo>
                    <a:pt x="24" y="378"/>
                  </a:lnTo>
                  <a:lnTo>
                    <a:pt x="28" y="382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40" y="388"/>
                  </a:lnTo>
                  <a:lnTo>
                    <a:pt x="48" y="386"/>
                  </a:lnTo>
                  <a:lnTo>
                    <a:pt x="92" y="366"/>
                  </a:lnTo>
                  <a:lnTo>
                    <a:pt x="92" y="366"/>
                  </a:lnTo>
                  <a:lnTo>
                    <a:pt x="104" y="380"/>
                  </a:lnTo>
                  <a:lnTo>
                    <a:pt x="116" y="392"/>
                  </a:lnTo>
                  <a:lnTo>
                    <a:pt x="128" y="404"/>
                  </a:lnTo>
                  <a:lnTo>
                    <a:pt x="144" y="414"/>
                  </a:lnTo>
                  <a:lnTo>
                    <a:pt x="126" y="460"/>
                  </a:lnTo>
                  <a:lnTo>
                    <a:pt x="126" y="460"/>
                  </a:lnTo>
                  <a:lnTo>
                    <a:pt x="126" y="466"/>
                  </a:lnTo>
                  <a:lnTo>
                    <a:pt x="126" y="472"/>
                  </a:lnTo>
                  <a:lnTo>
                    <a:pt x="130" y="478"/>
                  </a:lnTo>
                  <a:lnTo>
                    <a:pt x="136" y="482"/>
                  </a:lnTo>
                  <a:lnTo>
                    <a:pt x="180" y="498"/>
                  </a:lnTo>
                  <a:lnTo>
                    <a:pt x="180" y="498"/>
                  </a:lnTo>
                  <a:lnTo>
                    <a:pt x="186" y="500"/>
                  </a:lnTo>
                  <a:lnTo>
                    <a:pt x="186" y="500"/>
                  </a:lnTo>
                  <a:lnTo>
                    <a:pt x="194" y="498"/>
                  </a:lnTo>
                  <a:lnTo>
                    <a:pt x="194" y="498"/>
                  </a:lnTo>
                  <a:lnTo>
                    <a:pt x="198" y="494"/>
                  </a:lnTo>
                  <a:lnTo>
                    <a:pt x="202" y="488"/>
                  </a:lnTo>
                  <a:lnTo>
                    <a:pt x="220" y="442"/>
                  </a:lnTo>
                  <a:lnTo>
                    <a:pt x="220" y="442"/>
                  </a:lnTo>
                  <a:lnTo>
                    <a:pt x="238" y="444"/>
                  </a:lnTo>
                  <a:lnTo>
                    <a:pt x="256" y="444"/>
                  </a:lnTo>
                  <a:lnTo>
                    <a:pt x="272" y="444"/>
                  </a:lnTo>
                  <a:lnTo>
                    <a:pt x="290" y="440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4" y="490"/>
                  </a:lnTo>
                  <a:lnTo>
                    <a:pt x="320" y="494"/>
                  </a:lnTo>
                  <a:lnTo>
                    <a:pt x="320" y="494"/>
                  </a:lnTo>
                  <a:lnTo>
                    <a:pt x="326" y="496"/>
                  </a:lnTo>
                  <a:lnTo>
                    <a:pt x="332" y="494"/>
                  </a:lnTo>
                  <a:lnTo>
                    <a:pt x="376" y="474"/>
                  </a:lnTo>
                  <a:lnTo>
                    <a:pt x="376" y="474"/>
                  </a:lnTo>
                  <a:lnTo>
                    <a:pt x="382" y="470"/>
                  </a:lnTo>
                  <a:lnTo>
                    <a:pt x="384" y="464"/>
                  </a:lnTo>
                  <a:lnTo>
                    <a:pt x="386" y="458"/>
                  </a:lnTo>
                  <a:lnTo>
                    <a:pt x="384" y="452"/>
                  </a:lnTo>
                  <a:lnTo>
                    <a:pt x="384" y="4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auto">
            <a:xfrm>
              <a:off x="5257800" y="-83622"/>
              <a:ext cx="365125" cy="365125"/>
            </a:xfrm>
            <a:custGeom>
              <a:avLst/>
              <a:gdLst>
                <a:gd name="T0" fmla="*/ 222 w 230"/>
                <a:gd name="T1" fmla="*/ 154 h 230"/>
                <a:gd name="T2" fmla="*/ 222 w 230"/>
                <a:gd name="T3" fmla="*/ 154 h 230"/>
                <a:gd name="T4" fmla="*/ 214 w 230"/>
                <a:gd name="T5" fmla="*/ 170 h 230"/>
                <a:gd name="T6" fmla="*/ 206 w 230"/>
                <a:gd name="T7" fmla="*/ 186 h 230"/>
                <a:gd name="T8" fmla="*/ 194 w 230"/>
                <a:gd name="T9" fmla="*/ 198 h 230"/>
                <a:gd name="T10" fmla="*/ 180 w 230"/>
                <a:gd name="T11" fmla="*/ 208 h 230"/>
                <a:gd name="T12" fmla="*/ 166 w 230"/>
                <a:gd name="T13" fmla="*/ 218 h 230"/>
                <a:gd name="T14" fmla="*/ 150 w 230"/>
                <a:gd name="T15" fmla="*/ 224 h 230"/>
                <a:gd name="T16" fmla="*/ 132 w 230"/>
                <a:gd name="T17" fmla="*/ 228 h 230"/>
                <a:gd name="T18" fmla="*/ 116 w 230"/>
                <a:gd name="T19" fmla="*/ 230 h 230"/>
                <a:gd name="T20" fmla="*/ 116 w 230"/>
                <a:gd name="T21" fmla="*/ 230 h 230"/>
                <a:gd name="T22" fmla="*/ 94 w 230"/>
                <a:gd name="T23" fmla="*/ 228 h 230"/>
                <a:gd name="T24" fmla="*/ 74 w 230"/>
                <a:gd name="T25" fmla="*/ 222 h 230"/>
                <a:gd name="T26" fmla="*/ 74 w 230"/>
                <a:gd name="T27" fmla="*/ 222 h 230"/>
                <a:gd name="T28" fmla="*/ 54 w 230"/>
                <a:gd name="T29" fmla="*/ 212 h 230"/>
                <a:gd name="T30" fmla="*/ 36 w 230"/>
                <a:gd name="T31" fmla="*/ 198 h 230"/>
                <a:gd name="T32" fmla="*/ 22 w 230"/>
                <a:gd name="T33" fmla="*/ 180 h 230"/>
                <a:gd name="T34" fmla="*/ 10 w 230"/>
                <a:gd name="T35" fmla="*/ 162 h 230"/>
                <a:gd name="T36" fmla="*/ 10 w 230"/>
                <a:gd name="T37" fmla="*/ 162 h 230"/>
                <a:gd name="T38" fmla="*/ 4 w 230"/>
                <a:gd name="T39" fmla="*/ 140 h 230"/>
                <a:gd name="T40" fmla="*/ 0 w 230"/>
                <a:gd name="T41" fmla="*/ 118 h 230"/>
                <a:gd name="T42" fmla="*/ 2 w 230"/>
                <a:gd name="T43" fmla="*/ 96 h 230"/>
                <a:gd name="T44" fmla="*/ 8 w 230"/>
                <a:gd name="T45" fmla="*/ 74 h 230"/>
                <a:gd name="T46" fmla="*/ 8 w 230"/>
                <a:gd name="T47" fmla="*/ 74 h 230"/>
                <a:gd name="T48" fmla="*/ 16 w 230"/>
                <a:gd name="T49" fmla="*/ 58 h 230"/>
                <a:gd name="T50" fmla="*/ 24 w 230"/>
                <a:gd name="T51" fmla="*/ 44 h 230"/>
                <a:gd name="T52" fmla="*/ 36 w 230"/>
                <a:gd name="T53" fmla="*/ 30 h 230"/>
                <a:gd name="T54" fmla="*/ 50 w 230"/>
                <a:gd name="T55" fmla="*/ 20 h 230"/>
                <a:gd name="T56" fmla="*/ 64 w 230"/>
                <a:gd name="T57" fmla="*/ 10 h 230"/>
                <a:gd name="T58" fmla="*/ 80 w 230"/>
                <a:gd name="T59" fmla="*/ 4 h 230"/>
                <a:gd name="T60" fmla="*/ 98 w 230"/>
                <a:gd name="T61" fmla="*/ 0 h 230"/>
                <a:gd name="T62" fmla="*/ 116 w 230"/>
                <a:gd name="T63" fmla="*/ 0 h 230"/>
                <a:gd name="T64" fmla="*/ 116 w 230"/>
                <a:gd name="T65" fmla="*/ 0 h 230"/>
                <a:gd name="T66" fmla="*/ 136 w 230"/>
                <a:gd name="T67" fmla="*/ 2 h 230"/>
                <a:gd name="T68" fmla="*/ 156 w 230"/>
                <a:gd name="T69" fmla="*/ 6 h 230"/>
                <a:gd name="T70" fmla="*/ 156 w 230"/>
                <a:gd name="T71" fmla="*/ 6 h 230"/>
                <a:gd name="T72" fmla="*/ 176 w 230"/>
                <a:gd name="T73" fmla="*/ 16 h 230"/>
                <a:gd name="T74" fmla="*/ 194 w 230"/>
                <a:gd name="T75" fmla="*/ 30 h 230"/>
                <a:gd name="T76" fmla="*/ 208 w 230"/>
                <a:gd name="T77" fmla="*/ 48 h 230"/>
                <a:gd name="T78" fmla="*/ 220 w 230"/>
                <a:gd name="T79" fmla="*/ 66 h 230"/>
                <a:gd name="T80" fmla="*/ 220 w 230"/>
                <a:gd name="T81" fmla="*/ 66 h 230"/>
                <a:gd name="T82" fmla="*/ 228 w 230"/>
                <a:gd name="T83" fmla="*/ 88 h 230"/>
                <a:gd name="T84" fmla="*/ 230 w 230"/>
                <a:gd name="T85" fmla="*/ 110 h 230"/>
                <a:gd name="T86" fmla="*/ 228 w 230"/>
                <a:gd name="T87" fmla="*/ 132 h 230"/>
                <a:gd name="T88" fmla="*/ 222 w 230"/>
                <a:gd name="T89" fmla="*/ 154 h 230"/>
                <a:gd name="T90" fmla="*/ 222 w 230"/>
                <a:gd name="T91" fmla="*/ 15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230">
                  <a:moveTo>
                    <a:pt x="222" y="154"/>
                  </a:moveTo>
                  <a:lnTo>
                    <a:pt x="222" y="154"/>
                  </a:lnTo>
                  <a:lnTo>
                    <a:pt x="214" y="170"/>
                  </a:lnTo>
                  <a:lnTo>
                    <a:pt x="206" y="186"/>
                  </a:lnTo>
                  <a:lnTo>
                    <a:pt x="194" y="198"/>
                  </a:lnTo>
                  <a:lnTo>
                    <a:pt x="180" y="208"/>
                  </a:lnTo>
                  <a:lnTo>
                    <a:pt x="166" y="218"/>
                  </a:lnTo>
                  <a:lnTo>
                    <a:pt x="150" y="224"/>
                  </a:lnTo>
                  <a:lnTo>
                    <a:pt x="132" y="228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94" y="228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54" y="212"/>
                  </a:lnTo>
                  <a:lnTo>
                    <a:pt x="36" y="198"/>
                  </a:lnTo>
                  <a:lnTo>
                    <a:pt x="22" y="180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4" y="140"/>
                  </a:lnTo>
                  <a:lnTo>
                    <a:pt x="0" y="118"/>
                  </a:lnTo>
                  <a:lnTo>
                    <a:pt x="2" y="96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16" y="58"/>
                  </a:lnTo>
                  <a:lnTo>
                    <a:pt x="24" y="44"/>
                  </a:lnTo>
                  <a:lnTo>
                    <a:pt x="36" y="30"/>
                  </a:lnTo>
                  <a:lnTo>
                    <a:pt x="50" y="20"/>
                  </a:lnTo>
                  <a:lnTo>
                    <a:pt x="64" y="10"/>
                  </a:lnTo>
                  <a:lnTo>
                    <a:pt x="80" y="4"/>
                  </a:lnTo>
                  <a:lnTo>
                    <a:pt x="98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36" y="2"/>
                  </a:lnTo>
                  <a:lnTo>
                    <a:pt x="156" y="6"/>
                  </a:lnTo>
                  <a:lnTo>
                    <a:pt x="156" y="6"/>
                  </a:lnTo>
                  <a:lnTo>
                    <a:pt x="176" y="16"/>
                  </a:lnTo>
                  <a:lnTo>
                    <a:pt x="194" y="30"/>
                  </a:lnTo>
                  <a:lnTo>
                    <a:pt x="208" y="48"/>
                  </a:lnTo>
                  <a:lnTo>
                    <a:pt x="220" y="66"/>
                  </a:lnTo>
                  <a:lnTo>
                    <a:pt x="220" y="66"/>
                  </a:lnTo>
                  <a:lnTo>
                    <a:pt x="228" y="88"/>
                  </a:lnTo>
                  <a:lnTo>
                    <a:pt x="230" y="110"/>
                  </a:lnTo>
                  <a:lnTo>
                    <a:pt x="228" y="132"/>
                  </a:lnTo>
                  <a:lnTo>
                    <a:pt x="222" y="154"/>
                  </a:lnTo>
                  <a:lnTo>
                    <a:pt x="222" y="1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auto">
            <a:xfrm>
              <a:off x="5607050" y="259278"/>
              <a:ext cx="609600" cy="609600"/>
            </a:xfrm>
            <a:custGeom>
              <a:avLst/>
              <a:gdLst>
                <a:gd name="T0" fmla="*/ 374 w 384"/>
                <a:gd name="T1" fmla="*/ 166 h 384"/>
                <a:gd name="T2" fmla="*/ 336 w 384"/>
                <a:gd name="T3" fmla="*/ 164 h 384"/>
                <a:gd name="T4" fmla="*/ 344 w 384"/>
                <a:gd name="T5" fmla="*/ 98 h 384"/>
                <a:gd name="T6" fmla="*/ 348 w 384"/>
                <a:gd name="T7" fmla="*/ 86 h 384"/>
                <a:gd name="T8" fmla="*/ 322 w 384"/>
                <a:gd name="T9" fmla="*/ 50 h 384"/>
                <a:gd name="T10" fmla="*/ 310 w 384"/>
                <a:gd name="T11" fmla="*/ 44 h 384"/>
                <a:gd name="T12" fmla="*/ 298 w 384"/>
                <a:gd name="T13" fmla="*/ 48 h 384"/>
                <a:gd name="T14" fmla="*/ 254 w 384"/>
                <a:gd name="T15" fmla="*/ 58 h 384"/>
                <a:gd name="T16" fmla="*/ 234 w 384"/>
                <a:gd name="T17" fmla="*/ 18 h 384"/>
                <a:gd name="T18" fmla="*/ 224 w 384"/>
                <a:gd name="T19" fmla="*/ 2 h 384"/>
                <a:gd name="T20" fmla="*/ 182 w 384"/>
                <a:gd name="T21" fmla="*/ 0 h 384"/>
                <a:gd name="T22" fmla="*/ 166 w 384"/>
                <a:gd name="T23" fmla="*/ 10 h 384"/>
                <a:gd name="T24" fmla="*/ 164 w 384"/>
                <a:gd name="T25" fmla="*/ 48 h 384"/>
                <a:gd name="T26" fmla="*/ 100 w 384"/>
                <a:gd name="T27" fmla="*/ 40 h 384"/>
                <a:gd name="T28" fmla="*/ 88 w 384"/>
                <a:gd name="T29" fmla="*/ 34 h 384"/>
                <a:gd name="T30" fmla="*/ 76 w 384"/>
                <a:gd name="T31" fmla="*/ 38 h 384"/>
                <a:gd name="T32" fmla="*/ 46 w 384"/>
                <a:gd name="T33" fmla="*/ 68 h 384"/>
                <a:gd name="T34" fmla="*/ 48 w 384"/>
                <a:gd name="T35" fmla="*/ 86 h 384"/>
                <a:gd name="T36" fmla="*/ 58 w 384"/>
                <a:gd name="T37" fmla="*/ 130 h 384"/>
                <a:gd name="T38" fmla="*/ 18 w 384"/>
                <a:gd name="T39" fmla="*/ 150 h 384"/>
                <a:gd name="T40" fmla="*/ 2 w 384"/>
                <a:gd name="T41" fmla="*/ 160 h 384"/>
                <a:gd name="T42" fmla="*/ 0 w 384"/>
                <a:gd name="T43" fmla="*/ 200 h 384"/>
                <a:gd name="T44" fmla="*/ 4 w 384"/>
                <a:gd name="T45" fmla="*/ 212 h 384"/>
                <a:gd name="T46" fmla="*/ 48 w 384"/>
                <a:gd name="T47" fmla="*/ 220 h 384"/>
                <a:gd name="T48" fmla="*/ 64 w 384"/>
                <a:gd name="T49" fmla="*/ 262 h 384"/>
                <a:gd name="T50" fmla="*/ 36 w 384"/>
                <a:gd name="T51" fmla="*/ 290 h 384"/>
                <a:gd name="T52" fmla="*/ 36 w 384"/>
                <a:gd name="T53" fmla="*/ 302 h 384"/>
                <a:gd name="T54" fmla="*/ 62 w 384"/>
                <a:gd name="T55" fmla="*/ 334 h 384"/>
                <a:gd name="T56" fmla="*/ 74 w 384"/>
                <a:gd name="T57" fmla="*/ 338 h 384"/>
                <a:gd name="T58" fmla="*/ 110 w 384"/>
                <a:gd name="T59" fmla="*/ 312 h 384"/>
                <a:gd name="T60" fmla="*/ 152 w 384"/>
                <a:gd name="T61" fmla="*/ 332 h 384"/>
                <a:gd name="T62" fmla="*/ 152 w 384"/>
                <a:gd name="T63" fmla="*/ 370 h 384"/>
                <a:gd name="T64" fmla="*/ 166 w 384"/>
                <a:gd name="T65" fmla="*/ 382 h 384"/>
                <a:gd name="T66" fmla="*/ 202 w 384"/>
                <a:gd name="T67" fmla="*/ 384 h 384"/>
                <a:gd name="T68" fmla="*/ 214 w 384"/>
                <a:gd name="T69" fmla="*/ 378 h 384"/>
                <a:gd name="T70" fmla="*/ 218 w 384"/>
                <a:gd name="T71" fmla="*/ 368 h 384"/>
                <a:gd name="T72" fmla="*/ 242 w 384"/>
                <a:gd name="T73" fmla="*/ 330 h 384"/>
                <a:gd name="T74" fmla="*/ 284 w 384"/>
                <a:gd name="T75" fmla="*/ 344 h 384"/>
                <a:gd name="T76" fmla="*/ 296 w 384"/>
                <a:gd name="T77" fmla="*/ 348 h 384"/>
                <a:gd name="T78" fmla="*/ 334 w 384"/>
                <a:gd name="T79" fmla="*/ 320 h 384"/>
                <a:gd name="T80" fmla="*/ 340 w 384"/>
                <a:gd name="T81" fmla="*/ 308 h 384"/>
                <a:gd name="T82" fmla="*/ 314 w 384"/>
                <a:gd name="T83" fmla="*/ 274 h 384"/>
                <a:gd name="T84" fmla="*/ 332 w 384"/>
                <a:gd name="T85" fmla="*/ 232 h 384"/>
                <a:gd name="T86" fmla="*/ 372 w 384"/>
                <a:gd name="T87" fmla="*/ 232 h 384"/>
                <a:gd name="T88" fmla="*/ 382 w 384"/>
                <a:gd name="T89" fmla="*/ 216 h 384"/>
                <a:gd name="T90" fmla="*/ 382 w 384"/>
                <a:gd name="T91" fmla="*/ 17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84" h="384">
                  <a:moveTo>
                    <a:pt x="380" y="170"/>
                  </a:moveTo>
                  <a:lnTo>
                    <a:pt x="380" y="170"/>
                  </a:lnTo>
                  <a:lnTo>
                    <a:pt x="374" y="166"/>
                  </a:lnTo>
                  <a:lnTo>
                    <a:pt x="368" y="164"/>
                  </a:lnTo>
                  <a:lnTo>
                    <a:pt x="336" y="164"/>
                  </a:lnTo>
                  <a:lnTo>
                    <a:pt x="336" y="164"/>
                  </a:lnTo>
                  <a:lnTo>
                    <a:pt x="330" y="142"/>
                  </a:lnTo>
                  <a:lnTo>
                    <a:pt x="320" y="120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8" y="94"/>
                  </a:lnTo>
                  <a:lnTo>
                    <a:pt x="348" y="86"/>
                  </a:lnTo>
                  <a:lnTo>
                    <a:pt x="348" y="80"/>
                  </a:lnTo>
                  <a:lnTo>
                    <a:pt x="344" y="74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16" y="46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02" y="44"/>
                  </a:lnTo>
                  <a:lnTo>
                    <a:pt x="298" y="48"/>
                  </a:lnTo>
                  <a:lnTo>
                    <a:pt x="274" y="70"/>
                  </a:lnTo>
                  <a:lnTo>
                    <a:pt x="274" y="70"/>
                  </a:lnTo>
                  <a:lnTo>
                    <a:pt x="254" y="58"/>
                  </a:lnTo>
                  <a:lnTo>
                    <a:pt x="232" y="50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2" y="12"/>
                  </a:lnTo>
                  <a:lnTo>
                    <a:pt x="228" y="6"/>
                  </a:lnTo>
                  <a:lnTo>
                    <a:pt x="224" y="2"/>
                  </a:lnTo>
                  <a:lnTo>
                    <a:pt x="218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0" y="4"/>
                  </a:lnTo>
                  <a:lnTo>
                    <a:pt x="166" y="10"/>
                  </a:lnTo>
                  <a:lnTo>
                    <a:pt x="166" y="16"/>
                  </a:lnTo>
                  <a:lnTo>
                    <a:pt x="164" y="48"/>
                  </a:lnTo>
                  <a:lnTo>
                    <a:pt x="164" y="48"/>
                  </a:lnTo>
                  <a:lnTo>
                    <a:pt x="142" y="54"/>
                  </a:lnTo>
                  <a:lnTo>
                    <a:pt x="120" y="64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4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46" y="68"/>
                  </a:lnTo>
                  <a:lnTo>
                    <a:pt x="44" y="74"/>
                  </a:lnTo>
                  <a:lnTo>
                    <a:pt x="46" y="80"/>
                  </a:lnTo>
                  <a:lnTo>
                    <a:pt x="48" y="86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58" y="130"/>
                  </a:lnTo>
                  <a:lnTo>
                    <a:pt x="50" y="152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6" y="154"/>
                  </a:lnTo>
                  <a:lnTo>
                    <a:pt x="2" y="160"/>
                  </a:lnTo>
                  <a:lnTo>
                    <a:pt x="2" y="166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6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10" y="216"/>
                  </a:lnTo>
                  <a:lnTo>
                    <a:pt x="16" y="218"/>
                  </a:lnTo>
                  <a:lnTo>
                    <a:pt x="48" y="220"/>
                  </a:lnTo>
                  <a:lnTo>
                    <a:pt x="48" y="220"/>
                  </a:lnTo>
                  <a:lnTo>
                    <a:pt x="54" y="242"/>
                  </a:lnTo>
                  <a:lnTo>
                    <a:pt x="64" y="262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36" y="290"/>
                  </a:lnTo>
                  <a:lnTo>
                    <a:pt x="34" y="296"/>
                  </a:lnTo>
                  <a:lnTo>
                    <a:pt x="34" y="296"/>
                  </a:lnTo>
                  <a:lnTo>
                    <a:pt x="36" y="302"/>
                  </a:lnTo>
                  <a:lnTo>
                    <a:pt x="40" y="308"/>
                  </a:lnTo>
                  <a:lnTo>
                    <a:pt x="62" y="334"/>
                  </a:lnTo>
                  <a:lnTo>
                    <a:pt x="62" y="334"/>
                  </a:lnTo>
                  <a:lnTo>
                    <a:pt x="68" y="338"/>
                  </a:lnTo>
                  <a:lnTo>
                    <a:pt x="74" y="338"/>
                  </a:lnTo>
                  <a:lnTo>
                    <a:pt x="74" y="338"/>
                  </a:lnTo>
                  <a:lnTo>
                    <a:pt x="80" y="338"/>
                  </a:lnTo>
                  <a:lnTo>
                    <a:pt x="86" y="334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30" y="324"/>
                  </a:lnTo>
                  <a:lnTo>
                    <a:pt x="152" y="332"/>
                  </a:lnTo>
                  <a:lnTo>
                    <a:pt x="150" y="364"/>
                  </a:lnTo>
                  <a:lnTo>
                    <a:pt x="150" y="364"/>
                  </a:lnTo>
                  <a:lnTo>
                    <a:pt x="152" y="370"/>
                  </a:lnTo>
                  <a:lnTo>
                    <a:pt x="154" y="376"/>
                  </a:lnTo>
                  <a:lnTo>
                    <a:pt x="160" y="380"/>
                  </a:lnTo>
                  <a:lnTo>
                    <a:pt x="166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02" y="384"/>
                  </a:lnTo>
                  <a:lnTo>
                    <a:pt x="202" y="384"/>
                  </a:lnTo>
                  <a:lnTo>
                    <a:pt x="208" y="382"/>
                  </a:lnTo>
                  <a:lnTo>
                    <a:pt x="214" y="378"/>
                  </a:lnTo>
                  <a:lnTo>
                    <a:pt x="214" y="378"/>
                  </a:lnTo>
                  <a:lnTo>
                    <a:pt x="216" y="374"/>
                  </a:lnTo>
                  <a:lnTo>
                    <a:pt x="218" y="368"/>
                  </a:lnTo>
                  <a:lnTo>
                    <a:pt x="220" y="336"/>
                  </a:lnTo>
                  <a:lnTo>
                    <a:pt x="220" y="336"/>
                  </a:lnTo>
                  <a:lnTo>
                    <a:pt x="242" y="330"/>
                  </a:lnTo>
                  <a:lnTo>
                    <a:pt x="262" y="320"/>
                  </a:lnTo>
                  <a:lnTo>
                    <a:pt x="284" y="344"/>
                  </a:lnTo>
                  <a:lnTo>
                    <a:pt x="284" y="344"/>
                  </a:lnTo>
                  <a:lnTo>
                    <a:pt x="290" y="346"/>
                  </a:lnTo>
                  <a:lnTo>
                    <a:pt x="296" y="348"/>
                  </a:lnTo>
                  <a:lnTo>
                    <a:pt x="296" y="348"/>
                  </a:lnTo>
                  <a:lnTo>
                    <a:pt x="302" y="348"/>
                  </a:lnTo>
                  <a:lnTo>
                    <a:pt x="308" y="344"/>
                  </a:lnTo>
                  <a:lnTo>
                    <a:pt x="334" y="320"/>
                  </a:lnTo>
                  <a:lnTo>
                    <a:pt x="334" y="320"/>
                  </a:lnTo>
                  <a:lnTo>
                    <a:pt x="338" y="316"/>
                  </a:lnTo>
                  <a:lnTo>
                    <a:pt x="340" y="308"/>
                  </a:lnTo>
                  <a:lnTo>
                    <a:pt x="338" y="302"/>
                  </a:lnTo>
                  <a:lnTo>
                    <a:pt x="334" y="296"/>
                  </a:lnTo>
                  <a:lnTo>
                    <a:pt x="314" y="274"/>
                  </a:lnTo>
                  <a:lnTo>
                    <a:pt x="314" y="274"/>
                  </a:lnTo>
                  <a:lnTo>
                    <a:pt x="324" y="254"/>
                  </a:lnTo>
                  <a:lnTo>
                    <a:pt x="332" y="232"/>
                  </a:lnTo>
                  <a:lnTo>
                    <a:pt x="364" y="234"/>
                  </a:lnTo>
                  <a:lnTo>
                    <a:pt x="364" y="234"/>
                  </a:lnTo>
                  <a:lnTo>
                    <a:pt x="372" y="232"/>
                  </a:lnTo>
                  <a:lnTo>
                    <a:pt x="376" y="228"/>
                  </a:lnTo>
                  <a:lnTo>
                    <a:pt x="380" y="224"/>
                  </a:lnTo>
                  <a:lnTo>
                    <a:pt x="382" y="216"/>
                  </a:lnTo>
                  <a:lnTo>
                    <a:pt x="384" y="182"/>
                  </a:lnTo>
                  <a:lnTo>
                    <a:pt x="384" y="182"/>
                  </a:lnTo>
                  <a:lnTo>
                    <a:pt x="382" y="176"/>
                  </a:lnTo>
                  <a:lnTo>
                    <a:pt x="380" y="170"/>
                  </a:lnTo>
                  <a:lnTo>
                    <a:pt x="380" y="1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>
              <a:off x="5784850" y="437078"/>
              <a:ext cx="250825" cy="250825"/>
            </a:xfrm>
            <a:custGeom>
              <a:avLst/>
              <a:gdLst>
                <a:gd name="T0" fmla="*/ 76 w 158"/>
                <a:gd name="T1" fmla="*/ 158 h 158"/>
                <a:gd name="T2" fmla="*/ 76 w 158"/>
                <a:gd name="T3" fmla="*/ 158 h 158"/>
                <a:gd name="T4" fmla="*/ 60 w 158"/>
                <a:gd name="T5" fmla="*/ 156 h 158"/>
                <a:gd name="T6" fmla="*/ 46 w 158"/>
                <a:gd name="T7" fmla="*/ 150 h 158"/>
                <a:gd name="T8" fmla="*/ 32 w 158"/>
                <a:gd name="T9" fmla="*/ 142 h 158"/>
                <a:gd name="T10" fmla="*/ 22 w 158"/>
                <a:gd name="T11" fmla="*/ 132 h 158"/>
                <a:gd name="T12" fmla="*/ 12 w 158"/>
                <a:gd name="T13" fmla="*/ 120 h 158"/>
                <a:gd name="T14" fmla="*/ 6 w 158"/>
                <a:gd name="T15" fmla="*/ 106 h 158"/>
                <a:gd name="T16" fmla="*/ 2 w 158"/>
                <a:gd name="T17" fmla="*/ 92 h 158"/>
                <a:gd name="T18" fmla="*/ 0 w 158"/>
                <a:gd name="T19" fmla="*/ 76 h 158"/>
                <a:gd name="T20" fmla="*/ 0 w 158"/>
                <a:gd name="T21" fmla="*/ 76 h 158"/>
                <a:gd name="T22" fmla="*/ 2 w 158"/>
                <a:gd name="T23" fmla="*/ 60 h 158"/>
                <a:gd name="T24" fmla="*/ 8 w 158"/>
                <a:gd name="T25" fmla="*/ 46 h 158"/>
                <a:gd name="T26" fmla="*/ 16 w 158"/>
                <a:gd name="T27" fmla="*/ 34 h 158"/>
                <a:gd name="T28" fmla="*/ 26 w 158"/>
                <a:gd name="T29" fmla="*/ 22 h 158"/>
                <a:gd name="T30" fmla="*/ 36 w 158"/>
                <a:gd name="T31" fmla="*/ 14 h 158"/>
                <a:gd name="T32" fmla="*/ 50 w 158"/>
                <a:gd name="T33" fmla="*/ 6 h 158"/>
                <a:gd name="T34" fmla="*/ 64 w 158"/>
                <a:gd name="T35" fmla="*/ 2 h 158"/>
                <a:gd name="T36" fmla="*/ 80 w 158"/>
                <a:gd name="T37" fmla="*/ 0 h 158"/>
                <a:gd name="T38" fmla="*/ 80 w 158"/>
                <a:gd name="T39" fmla="*/ 0 h 158"/>
                <a:gd name="T40" fmla="*/ 84 w 158"/>
                <a:gd name="T41" fmla="*/ 0 h 158"/>
                <a:gd name="T42" fmla="*/ 84 w 158"/>
                <a:gd name="T43" fmla="*/ 0 h 158"/>
                <a:gd name="T44" fmla="*/ 98 w 158"/>
                <a:gd name="T45" fmla="*/ 2 h 158"/>
                <a:gd name="T46" fmla="*/ 114 w 158"/>
                <a:gd name="T47" fmla="*/ 8 h 158"/>
                <a:gd name="T48" fmla="*/ 126 w 158"/>
                <a:gd name="T49" fmla="*/ 16 h 158"/>
                <a:gd name="T50" fmla="*/ 138 w 158"/>
                <a:gd name="T51" fmla="*/ 26 h 158"/>
                <a:gd name="T52" fmla="*/ 148 w 158"/>
                <a:gd name="T53" fmla="*/ 38 h 158"/>
                <a:gd name="T54" fmla="*/ 154 w 158"/>
                <a:gd name="T55" fmla="*/ 52 h 158"/>
                <a:gd name="T56" fmla="*/ 158 w 158"/>
                <a:gd name="T57" fmla="*/ 66 h 158"/>
                <a:gd name="T58" fmla="*/ 158 w 158"/>
                <a:gd name="T59" fmla="*/ 82 h 158"/>
                <a:gd name="T60" fmla="*/ 158 w 158"/>
                <a:gd name="T61" fmla="*/ 82 h 158"/>
                <a:gd name="T62" fmla="*/ 156 w 158"/>
                <a:gd name="T63" fmla="*/ 98 h 158"/>
                <a:gd name="T64" fmla="*/ 152 w 158"/>
                <a:gd name="T65" fmla="*/ 114 h 158"/>
                <a:gd name="T66" fmla="*/ 144 w 158"/>
                <a:gd name="T67" fmla="*/ 126 h 158"/>
                <a:gd name="T68" fmla="*/ 134 w 158"/>
                <a:gd name="T69" fmla="*/ 138 h 158"/>
                <a:gd name="T70" fmla="*/ 122 w 158"/>
                <a:gd name="T71" fmla="*/ 146 h 158"/>
                <a:gd name="T72" fmla="*/ 108 w 158"/>
                <a:gd name="T73" fmla="*/ 154 h 158"/>
                <a:gd name="T74" fmla="*/ 92 w 158"/>
                <a:gd name="T75" fmla="*/ 158 h 158"/>
                <a:gd name="T76" fmla="*/ 76 w 158"/>
                <a:gd name="T77" fmla="*/ 158 h 158"/>
                <a:gd name="T78" fmla="*/ 76 w 158"/>
                <a:gd name="T7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8" h="158">
                  <a:moveTo>
                    <a:pt x="76" y="158"/>
                  </a:moveTo>
                  <a:lnTo>
                    <a:pt x="76" y="158"/>
                  </a:lnTo>
                  <a:lnTo>
                    <a:pt x="60" y="156"/>
                  </a:lnTo>
                  <a:lnTo>
                    <a:pt x="46" y="150"/>
                  </a:lnTo>
                  <a:lnTo>
                    <a:pt x="32" y="142"/>
                  </a:lnTo>
                  <a:lnTo>
                    <a:pt x="22" y="132"/>
                  </a:lnTo>
                  <a:lnTo>
                    <a:pt x="12" y="120"/>
                  </a:lnTo>
                  <a:lnTo>
                    <a:pt x="6" y="106"/>
                  </a:lnTo>
                  <a:lnTo>
                    <a:pt x="2" y="92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0"/>
                  </a:lnTo>
                  <a:lnTo>
                    <a:pt x="8" y="46"/>
                  </a:lnTo>
                  <a:lnTo>
                    <a:pt x="16" y="34"/>
                  </a:lnTo>
                  <a:lnTo>
                    <a:pt x="26" y="22"/>
                  </a:lnTo>
                  <a:lnTo>
                    <a:pt x="36" y="14"/>
                  </a:lnTo>
                  <a:lnTo>
                    <a:pt x="50" y="6"/>
                  </a:lnTo>
                  <a:lnTo>
                    <a:pt x="64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8" y="2"/>
                  </a:lnTo>
                  <a:lnTo>
                    <a:pt x="114" y="8"/>
                  </a:lnTo>
                  <a:lnTo>
                    <a:pt x="126" y="16"/>
                  </a:lnTo>
                  <a:lnTo>
                    <a:pt x="138" y="26"/>
                  </a:lnTo>
                  <a:lnTo>
                    <a:pt x="148" y="38"/>
                  </a:lnTo>
                  <a:lnTo>
                    <a:pt x="154" y="52"/>
                  </a:lnTo>
                  <a:lnTo>
                    <a:pt x="158" y="66"/>
                  </a:lnTo>
                  <a:lnTo>
                    <a:pt x="158" y="82"/>
                  </a:lnTo>
                  <a:lnTo>
                    <a:pt x="158" y="82"/>
                  </a:lnTo>
                  <a:lnTo>
                    <a:pt x="156" y="98"/>
                  </a:lnTo>
                  <a:lnTo>
                    <a:pt x="152" y="114"/>
                  </a:lnTo>
                  <a:lnTo>
                    <a:pt x="144" y="126"/>
                  </a:lnTo>
                  <a:lnTo>
                    <a:pt x="134" y="138"/>
                  </a:lnTo>
                  <a:lnTo>
                    <a:pt x="122" y="146"/>
                  </a:lnTo>
                  <a:lnTo>
                    <a:pt x="108" y="154"/>
                  </a:lnTo>
                  <a:lnTo>
                    <a:pt x="92" y="158"/>
                  </a:lnTo>
                  <a:lnTo>
                    <a:pt x="76" y="158"/>
                  </a:lnTo>
                  <a:lnTo>
                    <a:pt x="76" y="1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6" name="Line 21"/>
            <p:cNvSpPr>
              <a:spLocks noChangeShapeType="1"/>
            </p:cNvSpPr>
            <p:nvPr/>
          </p:nvSpPr>
          <p:spPr bwMode="auto">
            <a:xfrm>
              <a:off x="5905500" y="68790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5863478" y="1697237"/>
            <a:ext cx="879475" cy="793750"/>
            <a:chOff x="2422525" y="2367478"/>
            <a:chExt cx="879475" cy="793750"/>
          </a:xfrm>
        </p:grpSpPr>
        <p:sp>
          <p:nvSpPr>
            <p:cNvPr id="67" name="Freeform 22"/>
            <p:cNvSpPr>
              <a:spLocks noEditPoints="1"/>
            </p:cNvSpPr>
            <p:nvPr/>
          </p:nvSpPr>
          <p:spPr bwMode="auto">
            <a:xfrm>
              <a:off x="2422525" y="2367478"/>
              <a:ext cx="879475" cy="793750"/>
            </a:xfrm>
            <a:custGeom>
              <a:avLst/>
              <a:gdLst>
                <a:gd name="T0" fmla="*/ 276 w 554"/>
                <a:gd name="T1" fmla="*/ 0 h 500"/>
                <a:gd name="T2" fmla="*/ 220 w 554"/>
                <a:gd name="T3" fmla="*/ 4 h 500"/>
                <a:gd name="T4" fmla="*/ 168 w 554"/>
                <a:gd name="T5" fmla="*/ 16 h 500"/>
                <a:gd name="T6" fmla="*/ 122 w 554"/>
                <a:gd name="T7" fmla="*/ 34 h 500"/>
                <a:gd name="T8" fmla="*/ 80 w 554"/>
                <a:gd name="T9" fmla="*/ 60 h 500"/>
                <a:gd name="T10" fmla="*/ 46 w 554"/>
                <a:gd name="T11" fmla="*/ 90 h 500"/>
                <a:gd name="T12" fmla="*/ 22 w 554"/>
                <a:gd name="T13" fmla="*/ 124 h 500"/>
                <a:gd name="T14" fmla="*/ 6 w 554"/>
                <a:gd name="T15" fmla="*/ 162 h 500"/>
                <a:gd name="T16" fmla="*/ 0 w 554"/>
                <a:gd name="T17" fmla="*/ 204 h 500"/>
                <a:gd name="T18" fmla="*/ 2 w 554"/>
                <a:gd name="T19" fmla="*/ 228 h 500"/>
                <a:gd name="T20" fmla="*/ 18 w 554"/>
                <a:gd name="T21" fmla="*/ 276 h 500"/>
                <a:gd name="T22" fmla="*/ 50 w 554"/>
                <a:gd name="T23" fmla="*/ 318 h 500"/>
                <a:gd name="T24" fmla="*/ 92 w 554"/>
                <a:gd name="T25" fmla="*/ 354 h 500"/>
                <a:gd name="T26" fmla="*/ 50 w 554"/>
                <a:gd name="T27" fmla="*/ 500 h 500"/>
                <a:gd name="T28" fmla="*/ 198 w 554"/>
                <a:gd name="T29" fmla="*/ 396 h 500"/>
                <a:gd name="T30" fmla="*/ 256 w 554"/>
                <a:gd name="T31" fmla="*/ 406 h 500"/>
                <a:gd name="T32" fmla="*/ 276 w 554"/>
                <a:gd name="T33" fmla="*/ 406 h 500"/>
                <a:gd name="T34" fmla="*/ 332 w 554"/>
                <a:gd name="T35" fmla="*/ 402 h 500"/>
                <a:gd name="T36" fmla="*/ 384 w 554"/>
                <a:gd name="T37" fmla="*/ 390 h 500"/>
                <a:gd name="T38" fmla="*/ 432 w 554"/>
                <a:gd name="T39" fmla="*/ 372 h 500"/>
                <a:gd name="T40" fmla="*/ 472 w 554"/>
                <a:gd name="T41" fmla="*/ 346 h 500"/>
                <a:gd name="T42" fmla="*/ 506 w 554"/>
                <a:gd name="T43" fmla="*/ 316 h 500"/>
                <a:gd name="T44" fmla="*/ 532 w 554"/>
                <a:gd name="T45" fmla="*/ 282 h 500"/>
                <a:gd name="T46" fmla="*/ 548 w 554"/>
                <a:gd name="T47" fmla="*/ 244 h 500"/>
                <a:gd name="T48" fmla="*/ 554 w 554"/>
                <a:gd name="T49" fmla="*/ 204 h 500"/>
                <a:gd name="T50" fmla="*/ 552 w 554"/>
                <a:gd name="T51" fmla="*/ 182 h 500"/>
                <a:gd name="T52" fmla="*/ 540 w 554"/>
                <a:gd name="T53" fmla="*/ 142 h 500"/>
                <a:gd name="T54" fmla="*/ 520 w 554"/>
                <a:gd name="T55" fmla="*/ 106 h 500"/>
                <a:gd name="T56" fmla="*/ 490 w 554"/>
                <a:gd name="T57" fmla="*/ 74 h 500"/>
                <a:gd name="T58" fmla="*/ 452 w 554"/>
                <a:gd name="T59" fmla="*/ 46 h 500"/>
                <a:gd name="T60" fmla="*/ 408 w 554"/>
                <a:gd name="T61" fmla="*/ 24 h 500"/>
                <a:gd name="T62" fmla="*/ 358 w 554"/>
                <a:gd name="T63" fmla="*/ 10 h 500"/>
                <a:gd name="T64" fmla="*/ 304 w 554"/>
                <a:gd name="T65" fmla="*/ 2 h 500"/>
                <a:gd name="T66" fmla="*/ 276 w 554"/>
                <a:gd name="T67" fmla="*/ 0 h 500"/>
                <a:gd name="T68" fmla="*/ 380 w 554"/>
                <a:gd name="T69" fmla="*/ 214 h 500"/>
                <a:gd name="T70" fmla="*/ 374 w 554"/>
                <a:gd name="T71" fmla="*/ 232 h 500"/>
                <a:gd name="T72" fmla="*/ 392 w 554"/>
                <a:gd name="T73" fmla="*/ 276 h 500"/>
                <a:gd name="T74" fmla="*/ 338 w 554"/>
                <a:gd name="T75" fmla="*/ 276 h 500"/>
                <a:gd name="T76" fmla="*/ 322 w 554"/>
                <a:gd name="T77" fmla="*/ 286 h 500"/>
                <a:gd name="T78" fmla="*/ 302 w 554"/>
                <a:gd name="T79" fmla="*/ 328 h 500"/>
                <a:gd name="T80" fmla="*/ 264 w 554"/>
                <a:gd name="T81" fmla="*/ 292 h 500"/>
                <a:gd name="T82" fmla="*/ 246 w 554"/>
                <a:gd name="T83" fmla="*/ 286 h 500"/>
                <a:gd name="T84" fmla="*/ 202 w 554"/>
                <a:gd name="T85" fmla="*/ 302 h 500"/>
                <a:gd name="T86" fmla="*/ 202 w 554"/>
                <a:gd name="T87" fmla="*/ 250 h 500"/>
                <a:gd name="T88" fmla="*/ 192 w 554"/>
                <a:gd name="T89" fmla="*/ 232 h 500"/>
                <a:gd name="T90" fmla="*/ 150 w 554"/>
                <a:gd name="T91" fmla="*/ 214 h 500"/>
                <a:gd name="T92" fmla="*/ 186 w 554"/>
                <a:gd name="T93" fmla="*/ 176 h 500"/>
                <a:gd name="T94" fmla="*/ 192 w 554"/>
                <a:gd name="T95" fmla="*/ 156 h 500"/>
                <a:gd name="T96" fmla="*/ 176 w 554"/>
                <a:gd name="T97" fmla="*/ 114 h 500"/>
                <a:gd name="T98" fmla="*/ 228 w 554"/>
                <a:gd name="T99" fmla="*/ 112 h 500"/>
                <a:gd name="T100" fmla="*/ 246 w 554"/>
                <a:gd name="T101" fmla="*/ 104 h 500"/>
                <a:gd name="T102" fmla="*/ 264 w 554"/>
                <a:gd name="T103" fmla="*/ 60 h 500"/>
                <a:gd name="T104" fmla="*/ 302 w 554"/>
                <a:gd name="T105" fmla="*/ 98 h 500"/>
                <a:gd name="T106" fmla="*/ 322 w 554"/>
                <a:gd name="T107" fmla="*/ 104 h 500"/>
                <a:gd name="T108" fmla="*/ 364 w 554"/>
                <a:gd name="T109" fmla="*/ 86 h 500"/>
                <a:gd name="T110" fmla="*/ 366 w 554"/>
                <a:gd name="T111" fmla="*/ 140 h 500"/>
                <a:gd name="T112" fmla="*/ 374 w 554"/>
                <a:gd name="T113" fmla="*/ 156 h 500"/>
                <a:gd name="T114" fmla="*/ 418 w 554"/>
                <a:gd name="T115" fmla="*/ 176 h 500"/>
                <a:gd name="T116" fmla="*/ 418 w 554"/>
                <a:gd name="T117" fmla="*/ 21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4" h="500">
                  <a:moveTo>
                    <a:pt x="276" y="0"/>
                  </a:moveTo>
                  <a:lnTo>
                    <a:pt x="276" y="0"/>
                  </a:lnTo>
                  <a:lnTo>
                    <a:pt x="248" y="2"/>
                  </a:lnTo>
                  <a:lnTo>
                    <a:pt x="220" y="4"/>
                  </a:lnTo>
                  <a:lnTo>
                    <a:pt x="194" y="10"/>
                  </a:lnTo>
                  <a:lnTo>
                    <a:pt x="168" y="16"/>
                  </a:lnTo>
                  <a:lnTo>
                    <a:pt x="144" y="24"/>
                  </a:lnTo>
                  <a:lnTo>
                    <a:pt x="122" y="34"/>
                  </a:lnTo>
                  <a:lnTo>
                    <a:pt x="100" y="46"/>
                  </a:lnTo>
                  <a:lnTo>
                    <a:pt x="80" y="60"/>
                  </a:lnTo>
                  <a:lnTo>
                    <a:pt x="62" y="74"/>
                  </a:lnTo>
                  <a:lnTo>
                    <a:pt x="46" y="90"/>
                  </a:lnTo>
                  <a:lnTo>
                    <a:pt x="32" y="106"/>
                  </a:lnTo>
                  <a:lnTo>
                    <a:pt x="22" y="124"/>
                  </a:lnTo>
                  <a:lnTo>
                    <a:pt x="12" y="142"/>
                  </a:lnTo>
                  <a:lnTo>
                    <a:pt x="6" y="162"/>
                  </a:lnTo>
                  <a:lnTo>
                    <a:pt x="0" y="182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2" y="228"/>
                  </a:lnTo>
                  <a:lnTo>
                    <a:pt x="8" y="252"/>
                  </a:lnTo>
                  <a:lnTo>
                    <a:pt x="18" y="276"/>
                  </a:lnTo>
                  <a:lnTo>
                    <a:pt x="32" y="298"/>
                  </a:lnTo>
                  <a:lnTo>
                    <a:pt x="50" y="318"/>
                  </a:lnTo>
                  <a:lnTo>
                    <a:pt x="70" y="338"/>
                  </a:lnTo>
                  <a:lnTo>
                    <a:pt x="92" y="354"/>
                  </a:lnTo>
                  <a:lnTo>
                    <a:pt x="118" y="370"/>
                  </a:lnTo>
                  <a:lnTo>
                    <a:pt x="50" y="500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236" y="404"/>
                  </a:lnTo>
                  <a:lnTo>
                    <a:pt x="256" y="406"/>
                  </a:lnTo>
                  <a:lnTo>
                    <a:pt x="276" y="406"/>
                  </a:lnTo>
                  <a:lnTo>
                    <a:pt x="276" y="406"/>
                  </a:lnTo>
                  <a:lnTo>
                    <a:pt x="304" y="404"/>
                  </a:lnTo>
                  <a:lnTo>
                    <a:pt x="332" y="402"/>
                  </a:lnTo>
                  <a:lnTo>
                    <a:pt x="358" y="396"/>
                  </a:lnTo>
                  <a:lnTo>
                    <a:pt x="384" y="390"/>
                  </a:lnTo>
                  <a:lnTo>
                    <a:pt x="408" y="382"/>
                  </a:lnTo>
                  <a:lnTo>
                    <a:pt x="432" y="372"/>
                  </a:lnTo>
                  <a:lnTo>
                    <a:pt x="452" y="360"/>
                  </a:lnTo>
                  <a:lnTo>
                    <a:pt x="472" y="346"/>
                  </a:lnTo>
                  <a:lnTo>
                    <a:pt x="490" y="332"/>
                  </a:lnTo>
                  <a:lnTo>
                    <a:pt x="506" y="316"/>
                  </a:lnTo>
                  <a:lnTo>
                    <a:pt x="520" y="300"/>
                  </a:lnTo>
                  <a:lnTo>
                    <a:pt x="532" y="282"/>
                  </a:lnTo>
                  <a:lnTo>
                    <a:pt x="540" y="264"/>
                  </a:lnTo>
                  <a:lnTo>
                    <a:pt x="548" y="244"/>
                  </a:lnTo>
                  <a:lnTo>
                    <a:pt x="552" y="224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182"/>
                  </a:lnTo>
                  <a:lnTo>
                    <a:pt x="548" y="162"/>
                  </a:lnTo>
                  <a:lnTo>
                    <a:pt x="540" y="142"/>
                  </a:lnTo>
                  <a:lnTo>
                    <a:pt x="532" y="124"/>
                  </a:lnTo>
                  <a:lnTo>
                    <a:pt x="520" y="106"/>
                  </a:lnTo>
                  <a:lnTo>
                    <a:pt x="506" y="90"/>
                  </a:lnTo>
                  <a:lnTo>
                    <a:pt x="490" y="74"/>
                  </a:lnTo>
                  <a:lnTo>
                    <a:pt x="472" y="60"/>
                  </a:lnTo>
                  <a:lnTo>
                    <a:pt x="452" y="46"/>
                  </a:lnTo>
                  <a:lnTo>
                    <a:pt x="432" y="34"/>
                  </a:lnTo>
                  <a:lnTo>
                    <a:pt x="408" y="24"/>
                  </a:lnTo>
                  <a:lnTo>
                    <a:pt x="384" y="16"/>
                  </a:lnTo>
                  <a:lnTo>
                    <a:pt x="358" y="10"/>
                  </a:lnTo>
                  <a:lnTo>
                    <a:pt x="332" y="4"/>
                  </a:lnTo>
                  <a:lnTo>
                    <a:pt x="304" y="2"/>
                  </a:lnTo>
                  <a:lnTo>
                    <a:pt x="276" y="0"/>
                  </a:lnTo>
                  <a:lnTo>
                    <a:pt x="276" y="0"/>
                  </a:lnTo>
                  <a:close/>
                  <a:moveTo>
                    <a:pt x="418" y="214"/>
                  </a:moveTo>
                  <a:lnTo>
                    <a:pt x="380" y="214"/>
                  </a:lnTo>
                  <a:lnTo>
                    <a:pt x="380" y="214"/>
                  </a:lnTo>
                  <a:lnTo>
                    <a:pt x="374" y="232"/>
                  </a:lnTo>
                  <a:lnTo>
                    <a:pt x="366" y="250"/>
                  </a:lnTo>
                  <a:lnTo>
                    <a:pt x="392" y="276"/>
                  </a:lnTo>
                  <a:lnTo>
                    <a:pt x="364" y="302"/>
                  </a:lnTo>
                  <a:lnTo>
                    <a:pt x="338" y="276"/>
                  </a:lnTo>
                  <a:lnTo>
                    <a:pt x="338" y="276"/>
                  </a:lnTo>
                  <a:lnTo>
                    <a:pt x="322" y="286"/>
                  </a:lnTo>
                  <a:lnTo>
                    <a:pt x="302" y="292"/>
                  </a:lnTo>
                  <a:lnTo>
                    <a:pt x="302" y="328"/>
                  </a:lnTo>
                  <a:lnTo>
                    <a:pt x="264" y="328"/>
                  </a:lnTo>
                  <a:lnTo>
                    <a:pt x="264" y="292"/>
                  </a:lnTo>
                  <a:lnTo>
                    <a:pt x="264" y="292"/>
                  </a:lnTo>
                  <a:lnTo>
                    <a:pt x="246" y="286"/>
                  </a:lnTo>
                  <a:lnTo>
                    <a:pt x="228" y="276"/>
                  </a:lnTo>
                  <a:lnTo>
                    <a:pt x="202" y="302"/>
                  </a:lnTo>
                  <a:lnTo>
                    <a:pt x="176" y="276"/>
                  </a:lnTo>
                  <a:lnTo>
                    <a:pt x="202" y="250"/>
                  </a:lnTo>
                  <a:lnTo>
                    <a:pt x="202" y="250"/>
                  </a:lnTo>
                  <a:lnTo>
                    <a:pt x="192" y="232"/>
                  </a:lnTo>
                  <a:lnTo>
                    <a:pt x="186" y="214"/>
                  </a:lnTo>
                  <a:lnTo>
                    <a:pt x="150" y="214"/>
                  </a:lnTo>
                  <a:lnTo>
                    <a:pt x="150" y="176"/>
                  </a:lnTo>
                  <a:lnTo>
                    <a:pt x="186" y="176"/>
                  </a:lnTo>
                  <a:lnTo>
                    <a:pt x="186" y="176"/>
                  </a:lnTo>
                  <a:lnTo>
                    <a:pt x="192" y="156"/>
                  </a:lnTo>
                  <a:lnTo>
                    <a:pt x="202" y="140"/>
                  </a:lnTo>
                  <a:lnTo>
                    <a:pt x="176" y="114"/>
                  </a:lnTo>
                  <a:lnTo>
                    <a:pt x="202" y="86"/>
                  </a:lnTo>
                  <a:lnTo>
                    <a:pt x="228" y="112"/>
                  </a:lnTo>
                  <a:lnTo>
                    <a:pt x="228" y="112"/>
                  </a:lnTo>
                  <a:lnTo>
                    <a:pt x="246" y="104"/>
                  </a:lnTo>
                  <a:lnTo>
                    <a:pt x="264" y="98"/>
                  </a:lnTo>
                  <a:lnTo>
                    <a:pt x="264" y="60"/>
                  </a:lnTo>
                  <a:lnTo>
                    <a:pt x="302" y="60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22" y="104"/>
                  </a:lnTo>
                  <a:lnTo>
                    <a:pt x="338" y="112"/>
                  </a:lnTo>
                  <a:lnTo>
                    <a:pt x="364" y="86"/>
                  </a:lnTo>
                  <a:lnTo>
                    <a:pt x="392" y="114"/>
                  </a:lnTo>
                  <a:lnTo>
                    <a:pt x="366" y="140"/>
                  </a:lnTo>
                  <a:lnTo>
                    <a:pt x="366" y="140"/>
                  </a:lnTo>
                  <a:lnTo>
                    <a:pt x="374" y="156"/>
                  </a:lnTo>
                  <a:lnTo>
                    <a:pt x="380" y="176"/>
                  </a:lnTo>
                  <a:lnTo>
                    <a:pt x="418" y="176"/>
                  </a:lnTo>
                  <a:lnTo>
                    <a:pt x="418" y="214"/>
                  </a:lnTo>
                  <a:close/>
                  <a:moveTo>
                    <a:pt x="418" y="214"/>
                  </a:moveTo>
                  <a:lnTo>
                    <a:pt x="418" y="214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8" name="Freeform 23"/>
            <p:cNvSpPr>
              <a:spLocks/>
            </p:cNvSpPr>
            <p:nvPr/>
          </p:nvSpPr>
          <p:spPr bwMode="auto">
            <a:xfrm>
              <a:off x="2422525" y="2367478"/>
              <a:ext cx="879475" cy="793750"/>
            </a:xfrm>
            <a:custGeom>
              <a:avLst/>
              <a:gdLst>
                <a:gd name="T0" fmla="*/ 276 w 554"/>
                <a:gd name="T1" fmla="*/ 0 h 500"/>
                <a:gd name="T2" fmla="*/ 220 w 554"/>
                <a:gd name="T3" fmla="*/ 4 h 500"/>
                <a:gd name="T4" fmla="*/ 168 w 554"/>
                <a:gd name="T5" fmla="*/ 16 h 500"/>
                <a:gd name="T6" fmla="*/ 122 w 554"/>
                <a:gd name="T7" fmla="*/ 34 h 500"/>
                <a:gd name="T8" fmla="*/ 80 w 554"/>
                <a:gd name="T9" fmla="*/ 60 h 500"/>
                <a:gd name="T10" fmla="*/ 46 w 554"/>
                <a:gd name="T11" fmla="*/ 90 h 500"/>
                <a:gd name="T12" fmla="*/ 22 w 554"/>
                <a:gd name="T13" fmla="*/ 124 h 500"/>
                <a:gd name="T14" fmla="*/ 6 w 554"/>
                <a:gd name="T15" fmla="*/ 162 h 500"/>
                <a:gd name="T16" fmla="*/ 0 w 554"/>
                <a:gd name="T17" fmla="*/ 204 h 500"/>
                <a:gd name="T18" fmla="*/ 2 w 554"/>
                <a:gd name="T19" fmla="*/ 228 h 500"/>
                <a:gd name="T20" fmla="*/ 18 w 554"/>
                <a:gd name="T21" fmla="*/ 276 h 500"/>
                <a:gd name="T22" fmla="*/ 50 w 554"/>
                <a:gd name="T23" fmla="*/ 318 h 500"/>
                <a:gd name="T24" fmla="*/ 92 w 554"/>
                <a:gd name="T25" fmla="*/ 354 h 500"/>
                <a:gd name="T26" fmla="*/ 50 w 554"/>
                <a:gd name="T27" fmla="*/ 500 h 500"/>
                <a:gd name="T28" fmla="*/ 198 w 554"/>
                <a:gd name="T29" fmla="*/ 396 h 500"/>
                <a:gd name="T30" fmla="*/ 256 w 554"/>
                <a:gd name="T31" fmla="*/ 406 h 500"/>
                <a:gd name="T32" fmla="*/ 276 w 554"/>
                <a:gd name="T33" fmla="*/ 406 h 500"/>
                <a:gd name="T34" fmla="*/ 332 w 554"/>
                <a:gd name="T35" fmla="*/ 402 h 500"/>
                <a:gd name="T36" fmla="*/ 384 w 554"/>
                <a:gd name="T37" fmla="*/ 390 h 500"/>
                <a:gd name="T38" fmla="*/ 432 w 554"/>
                <a:gd name="T39" fmla="*/ 372 h 500"/>
                <a:gd name="T40" fmla="*/ 472 w 554"/>
                <a:gd name="T41" fmla="*/ 346 h 500"/>
                <a:gd name="T42" fmla="*/ 506 w 554"/>
                <a:gd name="T43" fmla="*/ 316 h 500"/>
                <a:gd name="T44" fmla="*/ 532 w 554"/>
                <a:gd name="T45" fmla="*/ 282 h 500"/>
                <a:gd name="T46" fmla="*/ 548 w 554"/>
                <a:gd name="T47" fmla="*/ 244 h 500"/>
                <a:gd name="T48" fmla="*/ 554 w 554"/>
                <a:gd name="T49" fmla="*/ 204 h 500"/>
                <a:gd name="T50" fmla="*/ 552 w 554"/>
                <a:gd name="T51" fmla="*/ 182 h 500"/>
                <a:gd name="T52" fmla="*/ 540 w 554"/>
                <a:gd name="T53" fmla="*/ 142 h 500"/>
                <a:gd name="T54" fmla="*/ 520 w 554"/>
                <a:gd name="T55" fmla="*/ 106 h 500"/>
                <a:gd name="T56" fmla="*/ 490 w 554"/>
                <a:gd name="T57" fmla="*/ 74 h 500"/>
                <a:gd name="T58" fmla="*/ 452 w 554"/>
                <a:gd name="T59" fmla="*/ 46 h 500"/>
                <a:gd name="T60" fmla="*/ 408 w 554"/>
                <a:gd name="T61" fmla="*/ 24 h 500"/>
                <a:gd name="T62" fmla="*/ 358 w 554"/>
                <a:gd name="T63" fmla="*/ 10 h 500"/>
                <a:gd name="T64" fmla="*/ 304 w 554"/>
                <a:gd name="T65" fmla="*/ 2 h 500"/>
                <a:gd name="T66" fmla="*/ 276 w 554"/>
                <a:gd name="T67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4" h="500">
                  <a:moveTo>
                    <a:pt x="276" y="0"/>
                  </a:moveTo>
                  <a:lnTo>
                    <a:pt x="276" y="0"/>
                  </a:lnTo>
                  <a:lnTo>
                    <a:pt x="248" y="2"/>
                  </a:lnTo>
                  <a:lnTo>
                    <a:pt x="220" y="4"/>
                  </a:lnTo>
                  <a:lnTo>
                    <a:pt x="194" y="10"/>
                  </a:lnTo>
                  <a:lnTo>
                    <a:pt x="168" y="16"/>
                  </a:lnTo>
                  <a:lnTo>
                    <a:pt x="144" y="24"/>
                  </a:lnTo>
                  <a:lnTo>
                    <a:pt x="122" y="34"/>
                  </a:lnTo>
                  <a:lnTo>
                    <a:pt x="100" y="46"/>
                  </a:lnTo>
                  <a:lnTo>
                    <a:pt x="80" y="60"/>
                  </a:lnTo>
                  <a:lnTo>
                    <a:pt x="62" y="74"/>
                  </a:lnTo>
                  <a:lnTo>
                    <a:pt x="46" y="90"/>
                  </a:lnTo>
                  <a:lnTo>
                    <a:pt x="32" y="106"/>
                  </a:lnTo>
                  <a:lnTo>
                    <a:pt x="22" y="124"/>
                  </a:lnTo>
                  <a:lnTo>
                    <a:pt x="12" y="142"/>
                  </a:lnTo>
                  <a:lnTo>
                    <a:pt x="6" y="162"/>
                  </a:lnTo>
                  <a:lnTo>
                    <a:pt x="0" y="182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2" y="228"/>
                  </a:lnTo>
                  <a:lnTo>
                    <a:pt x="8" y="252"/>
                  </a:lnTo>
                  <a:lnTo>
                    <a:pt x="18" y="276"/>
                  </a:lnTo>
                  <a:lnTo>
                    <a:pt x="32" y="298"/>
                  </a:lnTo>
                  <a:lnTo>
                    <a:pt x="50" y="318"/>
                  </a:lnTo>
                  <a:lnTo>
                    <a:pt x="70" y="338"/>
                  </a:lnTo>
                  <a:lnTo>
                    <a:pt x="92" y="354"/>
                  </a:lnTo>
                  <a:lnTo>
                    <a:pt x="118" y="370"/>
                  </a:lnTo>
                  <a:lnTo>
                    <a:pt x="50" y="500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236" y="404"/>
                  </a:lnTo>
                  <a:lnTo>
                    <a:pt x="256" y="406"/>
                  </a:lnTo>
                  <a:lnTo>
                    <a:pt x="276" y="406"/>
                  </a:lnTo>
                  <a:lnTo>
                    <a:pt x="276" y="406"/>
                  </a:lnTo>
                  <a:lnTo>
                    <a:pt x="304" y="404"/>
                  </a:lnTo>
                  <a:lnTo>
                    <a:pt x="332" y="402"/>
                  </a:lnTo>
                  <a:lnTo>
                    <a:pt x="358" y="396"/>
                  </a:lnTo>
                  <a:lnTo>
                    <a:pt x="384" y="390"/>
                  </a:lnTo>
                  <a:lnTo>
                    <a:pt x="408" y="382"/>
                  </a:lnTo>
                  <a:lnTo>
                    <a:pt x="432" y="372"/>
                  </a:lnTo>
                  <a:lnTo>
                    <a:pt x="452" y="360"/>
                  </a:lnTo>
                  <a:lnTo>
                    <a:pt x="472" y="346"/>
                  </a:lnTo>
                  <a:lnTo>
                    <a:pt x="490" y="332"/>
                  </a:lnTo>
                  <a:lnTo>
                    <a:pt x="506" y="316"/>
                  </a:lnTo>
                  <a:lnTo>
                    <a:pt x="520" y="300"/>
                  </a:lnTo>
                  <a:lnTo>
                    <a:pt x="532" y="282"/>
                  </a:lnTo>
                  <a:lnTo>
                    <a:pt x="540" y="264"/>
                  </a:lnTo>
                  <a:lnTo>
                    <a:pt x="548" y="244"/>
                  </a:lnTo>
                  <a:lnTo>
                    <a:pt x="552" y="224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182"/>
                  </a:lnTo>
                  <a:lnTo>
                    <a:pt x="548" y="162"/>
                  </a:lnTo>
                  <a:lnTo>
                    <a:pt x="540" y="142"/>
                  </a:lnTo>
                  <a:lnTo>
                    <a:pt x="532" y="124"/>
                  </a:lnTo>
                  <a:lnTo>
                    <a:pt x="520" y="106"/>
                  </a:lnTo>
                  <a:lnTo>
                    <a:pt x="506" y="90"/>
                  </a:lnTo>
                  <a:lnTo>
                    <a:pt x="490" y="74"/>
                  </a:lnTo>
                  <a:lnTo>
                    <a:pt x="472" y="60"/>
                  </a:lnTo>
                  <a:lnTo>
                    <a:pt x="452" y="46"/>
                  </a:lnTo>
                  <a:lnTo>
                    <a:pt x="432" y="34"/>
                  </a:lnTo>
                  <a:lnTo>
                    <a:pt x="408" y="24"/>
                  </a:lnTo>
                  <a:lnTo>
                    <a:pt x="384" y="16"/>
                  </a:lnTo>
                  <a:lnTo>
                    <a:pt x="358" y="10"/>
                  </a:lnTo>
                  <a:lnTo>
                    <a:pt x="332" y="4"/>
                  </a:lnTo>
                  <a:lnTo>
                    <a:pt x="304" y="2"/>
                  </a:lnTo>
                  <a:lnTo>
                    <a:pt x="276" y="0"/>
                  </a:lnTo>
                  <a:lnTo>
                    <a:pt x="2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9" name="Freeform 24"/>
            <p:cNvSpPr>
              <a:spLocks/>
            </p:cNvSpPr>
            <p:nvPr/>
          </p:nvSpPr>
          <p:spPr bwMode="auto">
            <a:xfrm>
              <a:off x="2660650" y="2462728"/>
              <a:ext cx="425450" cy="425450"/>
            </a:xfrm>
            <a:custGeom>
              <a:avLst/>
              <a:gdLst>
                <a:gd name="T0" fmla="*/ 268 w 268"/>
                <a:gd name="T1" fmla="*/ 154 h 268"/>
                <a:gd name="T2" fmla="*/ 230 w 268"/>
                <a:gd name="T3" fmla="*/ 154 h 268"/>
                <a:gd name="T4" fmla="*/ 230 w 268"/>
                <a:gd name="T5" fmla="*/ 154 h 268"/>
                <a:gd name="T6" fmla="*/ 224 w 268"/>
                <a:gd name="T7" fmla="*/ 172 h 268"/>
                <a:gd name="T8" fmla="*/ 216 w 268"/>
                <a:gd name="T9" fmla="*/ 190 h 268"/>
                <a:gd name="T10" fmla="*/ 242 w 268"/>
                <a:gd name="T11" fmla="*/ 216 h 268"/>
                <a:gd name="T12" fmla="*/ 214 w 268"/>
                <a:gd name="T13" fmla="*/ 242 h 268"/>
                <a:gd name="T14" fmla="*/ 188 w 268"/>
                <a:gd name="T15" fmla="*/ 216 h 268"/>
                <a:gd name="T16" fmla="*/ 188 w 268"/>
                <a:gd name="T17" fmla="*/ 216 h 268"/>
                <a:gd name="T18" fmla="*/ 172 w 268"/>
                <a:gd name="T19" fmla="*/ 226 h 268"/>
                <a:gd name="T20" fmla="*/ 152 w 268"/>
                <a:gd name="T21" fmla="*/ 232 h 268"/>
                <a:gd name="T22" fmla="*/ 152 w 268"/>
                <a:gd name="T23" fmla="*/ 268 h 268"/>
                <a:gd name="T24" fmla="*/ 114 w 268"/>
                <a:gd name="T25" fmla="*/ 268 h 268"/>
                <a:gd name="T26" fmla="*/ 114 w 268"/>
                <a:gd name="T27" fmla="*/ 232 h 268"/>
                <a:gd name="T28" fmla="*/ 114 w 268"/>
                <a:gd name="T29" fmla="*/ 232 h 268"/>
                <a:gd name="T30" fmla="*/ 96 w 268"/>
                <a:gd name="T31" fmla="*/ 226 h 268"/>
                <a:gd name="T32" fmla="*/ 78 w 268"/>
                <a:gd name="T33" fmla="*/ 216 h 268"/>
                <a:gd name="T34" fmla="*/ 52 w 268"/>
                <a:gd name="T35" fmla="*/ 242 h 268"/>
                <a:gd name="T36" fmla="*/ 26 w 268"/>
                <a:gd name="T37" fmla="*/ 216 h 268"/>
                <a:gd name="T38" fmla="*/ 52 w 268"/>
                <a:gd name="T39" fmla="*/ 190 h 268"/>
                <a:gd name="T40" fmla="*/ 52 w 268"/>
                <a:gd name="T41" fmla="*/ 190 h 268"/>
                <a:gd name="T42" fmla="*/ 42 w 268"/>
                <a:gd name="T43" fmla="*/ 172 h 268"/>
                <a:gd name="T44" fmla="*/ 36 w 268"/>
                <a:gd name="T45" fmla="*/ 154 h 268"/>
                <a:gd name="T46" fmla="*/ 0 w 268"/>
                <a:gd name="T47" fmla="*/ 154 h 268"/>
                <a:gd name="T48" fmla="*/ 0 w 268"/>
                <a:gd name="T49" fmla="*/ 116 h 268"/>
                <a:gd name="T50" fmla="*/ 36 w 268"/>
                <a:gd name="T51" fmla="*/ 116 h 268"/>
                <a:gd name="T52" fmla="*/ 36 w 268"/>
                <a:gd name="T53" fmla="*/ 116 h 268"/>
                <a:gd name="T54" fmla="*/ 42 w 268"/>
                <a:gd name="T55" fmla="*/ 96 h 268"/>
                <a:gd name="T56" fmla="*/ 52 w 268"/>
                <a:gd name="T57" fmla="*/ 80 h 268"/>
                <a:gd name="T58" fmla="*/ 26 w 268"/>
                <a:gd name="T59" fmla="*/ 54 h 268"/>
                <a:gd name="T60" fmla="*/ 52 w 268"/>
                <a:gd name="T61" fmla="*/ 26 h 268"/>
                <a:gd name="T62" fmla="*/ 78 w 268"/>
                <a:gd name="T63" fmla="*/ 52 h 268"/>
                <a:gd name="T64" fmla="*/ 78 w 268"/>
                <a:gd name="T65" fmla="*/ 52 h 268"/>
                <a:gd name="T66" fmla="*/ 96 w 268"/>
                <a:gd name="T67" fmla="*/ 44 h 268"/>
                <a:gd name="T68" fmla="*/ 114 w 268"/>
                <a:gd name="T69" fmla="*/ 38 h 268"/>
                <a:gd name="T70" fmla="*/ 114 w 268"/>
                <a:gd name="T71" fmla="*/ 0 h 268"/>
                <a:gd name="T72" fmla="*/ 152 w 268"/>
                <a:gd name="T73" fmla="*/ 0 h 268"/>
                <a:gd name="T74" fmla="*/ 152 w 268"/>
                <a:gd name="T75" fmla="*/ 38 h 268"/>
                <a:gd name="T76" fmla="*/ 152 w 268"/>
                <a:gd name="T77" fmla="*/ 38 h 268"/>
                <a:gd name="T78" fmla="*/ 172 w 268"/>
                <a:gd name="T79" fmla="*/ 44 h 268"/>
                <a:gd name="T80" fmla="*/ 188 w 268"/>
                <a:gd name="T81" fmla="*/ 52 h 268"/>
                <a:gd name="T82" fmla="*/ 214 w 268"/>
                <a:gd name="T83" fmla="*/ 26 h 268"/>
                <a:gd name="T84" fmla="*/ 242 w 268"/>
                <a:gd name="T85" fmla="*/ 54 h 268"/>
                <a:gd name="T86" fmla="*/ 216 w 268"/>
                <a:gd name="T87" fmla="*/ 80 h 268"/>
                <a:gd name="T88" fmla="*/ 216 w 268"/>
                <a:gd name="T89" fmla="*/ 80 h 268"/>
                <a:gd name="T90" fmla="*/ 224 w 268"/>
                <a:gd name="T91" fmla="*/ 96 h 268"/>
                <a:gd name="T92" fmla="*/ 230 w 268"/>
                <a:gd name="T93" fmla="*/ 116 h 268"/>
                <a:gd name="T94" fmla="*/ 268 w 268"/>
                <a:gd name="T95" fmla="*/ 116 h 268"/>
                <a:gd name="T96" fmla="*/ 268 w 268"/>
                <a:gd name="T97" fmla="*/ 15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8" h="268">
                  <a:moveTo>
                    <a:pt x="268" y="154"/>
                  </a:moveTo>
                  <a:lnTo>
                    <a:pt x="230" y="154"/>
                  </a:lnTo>
                  <a:lnTo>
                    <a:pt x="230" y="154"/>
                  </a:lnTo>
                  <a:lnTo>
                    <a:pt x="224" y="172"/>
                  </a:lnTo>
                  <a:lnTo>
                    <a:pt x="216" y="190"/>
                  </a:lnTo>
                  <a:lnTo>
                    <a:pt x="242" y="216"/>
                  </a:lnTo>
                  <a:lnTo>
                    <a:pt x="214" y="242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72" y="226"/>
                  </a:lnTo>
                  <a:lnTo>
                    <a:pt x="152" y="232"/>
                  </a:lnTo>
                  <a:lnTo>
                    <a:pt x="152" y="268"/>
                  </a:lnTo>
                  <a:lnTo>
                    <a:pt x="114" y="268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96" y="226"/>
                  </a:lnTo>
                  <a:lnTo>
                    <a:pt x="78" y="216"/>
                  </a:lnTo>
                  <a:lnTo>
                    <a:pt x="52" y="242"/>
                  </a:lnTo>
                  <a:lnTo>
                    <a:pt x="26" y="216"/>
                  </a:lnTo>
                  <a:lnTo>
                    <a:pt x="52" y="190"/>
                  </a:lnTo>
                  <a:lnTo>
                    <a:pt x="52" y="190"/>
                  </a:lnTo>
                  <a:lnTo>
                    <a:pt x="42" y="172"/>
                  </a:lnTo>
                  <a:lnTo>
                    <a:pt x="36" y="154"/>
                  </a:lnTo>
                  <a:lnTo>
                    <a:pt x="0" y="154"/>
                  </a:lnTo>
                  <a:lnTo>
                    <a:pt x="0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2" y="96"/>
                  </a:lnTo>
                  <a:lnTo>
                    <a:pt x="52" y="80"/>
                  </a:lnTo>
                  <a:lnTo>
                    <a:pt x="26" y="54"/>
                  </a:lnTo>
                  <a:lnTo>
                    <a:pt x="52" y="26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96" y="44"/>
                  </a:lnTo>
                  <a:lnTo>
                    <a:pt x="114" y="38"/>
                  </a:lnTo>
                  <a:lnTo>
                    <a:pt x="114" y="0"/>
                  </a:lnTo>
                  <a:lnTo>
                    <a:pt x="152" y="0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72" y="44"/>
                  </a:lnTo>
                  <a:lnTo>
                    <a:pt x="188" y="52"/>
                  </a:lnTo>
                  <a:lnTo>
                    <a:pt x="214" y="26"/>
                  </a:lnTo>
                  <a:lnTo>
                    <a:pt x="242" y="54"/>
                  </a:lnTo>
                  <a:lnTo>
                    <a:pt x="216" y="80"/>
                  </a:lnTo>
                  <a:lnTo>
                    <a:pt x="216" y="80"/>
                  </a:lnTo>
                  <a:lnTo>
                    <a:pt x="224" y="96"/>
                  </a:lnTo>
                  <a:lnTo>
                    <a:pt x="230" y="116"/>
                  </a:lnTo>
                  <a:lnTo>
                    <a:pt x="268" y="116"/>
                  </a:lnTo>
                  <a:lnTo>
                    <a:pt x="268" y="1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0" name="Line 25"/>
            <p:cNvSpPr>
              <a:spLocks noChangeShapeType="1"/>
            </p:cNvSpPr>
            <p:nvPr/>
          </p:nvSpPr>
          <p:spPr bwMode="auto">
            <a:xfrm>
              <a:off x="3086100" y="270720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1" name="Freeform 26"/>
            <p:cNvSpPr>
              <a:spLocks noEditPoints="1"/>
            </p:cNvSpPr>
            <p:nvPr/>
          </p:nvSpPr>
          <p:spPr bwMode="auto">
            <a:xfrm>
              <a:off x="2806700" y="2611953"/>
              <a:ext cx="130175" cy="130175"/>
            </a:xfrm>
            <a:custGeom>
              <a:avLst/>
              <a:gdLst>
                <a:gd name="T0" fmla="*/ 82 w 82"/>
                <a:gd name="T1" fmla="*/ 40 h 82"/>
                <a:gd name="T2" fmla="*/ 82 w 82"/>
                <a:gd name="T3" fmla="*/ 40 h 82"/>
                <a:gd name="T4" fmla="*/ 82 w 82"/>
                <a:gd name="T5" fmla="*/ 50 h 82"/>
                <a:gd name="T6" fmla="*/ 78 w 82"/>
                <a:gd name="T7" fmla="*/ 56 h 82"/>
                <a:gd name="T8" fmla="*/ 76 w 82"/>
                <a:gd name="T9" fmla="*/ 64 h 82"/>
                <a:gd name="T10" fmla="*/ 70 w 82"/>
                <a:gd name="T11" fmla="*/ 70 h 82"/>
                <a:gd name="T12" fmla="*/ 64 w 82"/>
                <a:gd name="T13" fmla="*/ 74 h 82"/>
                <a:gd name="T14" fmla="*/ 58 w 82"/>
                <a:gd name="T15" fmla="*/ 78 h 82"/>
                <a:gd name="T16" fmla="*/ 50 w 82"/>
                <a:gd name="T17" fmla="*/ 80 h 82"/>
                <a:gd name="T18" fmla="*/ 42 w 82"/>
                <a:gd name="T19" fmla="*/ 82 h 82"/>
                <a:gd name="T20" fmla="*/ 42 w 82"/>
                <a:gd name="T21" fmla="*/ 82 h 82"/>
                <a:gd name="T22" fmla="*/ 32 w 82"/>
                <a:gd name="T23" fmla="*/ 80 h 82"/>
                <a:gd name="T24" fmla="*/ 26 w 82"/>
                <a:gd name="T25" fmla="*/ 78 h 82"/>
                <a:gd name="T26" fmla="*/ 18 w 82"/>
                <a:gd name="T27" fmla="*/ 74 h 82"/>
                <a:gd name="T28" fmla="*/ 12 w 82"/>
                <a:gd name="T29" fmla="*/ 70 h 82"/>
                <a:gd name="T30" fmla="*/ 8 w 82"/>
                <a:gd name="T31" fmla="*/ 64 h 82"/>
                <a:gd name="T32" fmla="*/ 4 w 82"/>
                <a:gd name="T33" fmla="*/ 56 h 82"/>
                <a:gd name="T34" fmla="*/ 0 w 82"/>
                <a:gd name="T35" fmla="*/ 50 h 82"/>
                <a:gd name="T36" fmla="*/ 0 w 82"/>
                <a:gd name="T37" fmla="*/ 40 h 82"/>
                <a:gd name="T38" fmla="*/ 0 w 82"/>
                <a:gd name="T39" fmla="*/ 40 h 82"/>
                <a:gd name="T40" fmla="*/ 0 w 82"/>
                <a:gd name="T41" fmla="*/ 32 h 82"/>
                <a:gd name="T42" fmla="*/ 4 w 82"/>
                <a:gd name="T43" fmla="*/ 24 h 82"/>
                <a:gd name="T44" fmla="*/ 8 w 82"/>
                <a:gd name="T45" fmla="*/ 18 h 82"/>
                <a:gd name="T46" fmla="*/ 12 w 82"/>
                <a:gd name="T47" fmla="*/ 12 h 82"/>
                <a:gd name="T48" fmla="*/ 18 w 82"/>
                <a:gd name="T49" fmla="*/ 6 h 82"/>
                <a:gd name="T50" fmla="*/ 26 w 82"/>
                <a:gd name="T51" fmla="*/ 4 h 82"/>
                <a:gd name="T52" fmla="*/ 32 w 82"/>
                <a:gd name="T53" fmla="*/ 0 h 82"/>
                <a:gd name="T54" fmla="*/ 42 w 82"/>
                <a:gd name="T55" fmla="*/ 0 h 82"/>
                <a:gd name="T56" fmla="*/ 42 w 82"/>
                <a:gd name="T57" fmla="*/ 0 h 82"/>
                <a:gd name="T58" fmla="*/ 50 w 82"/>
                <a:gd name="T59" fmla="*/ 0 h 82"/>
                <a:gd name="T60" fmla="*/ 58 w 82"/>
                <a:gd name="T61" fmla="*/ 4 h 82"/>
                <a:gd name="T62" fmla="*/ 64 w 82"/>
                <a:gd name="T63" fmla="*/ 6 h 82"/>
                <a:gd name="T64" fmla="*/ 70 w 82"/>
                <a:gd name="T65" fmla="*/ 12 h 82"/>
                <a:gd name="T66" fmla="*/ 76 w 82"/>
                <a:gd name="T67" fmla="*/ 18 h 82"/>
                <a:gd name="T68" fmla="*/ 78 w 82"/>
                <a:gd name="T69" fmla="*/ 24 h 82"/>
                <a:gd name="T70" fmla="*/ 82 w 82"/>
                <a:gd name="T71" fmla="*/ 32 h 82"/>
                <a:gd name="T72" fmla="*/ 82 w 82"/>
                <a:gd name="T73" fmla="*/ 40 h 82"/>
                <a:gd name="T74" fmla="*/ 82 w 82"/>
                <a:gd name="T75" fmla="*/ 40 h 82"/>
                <a:gd name="T76" fmla="*/ 82 w 82"/>
                <a:gd name="T77" fmla="*/ 40 h 82"/>
                <a:gd name="T78" fmla="*/ 82 w 82"/>
                <a:gd name="T79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2" h="82">
                  <a:moveTo>
                    <a:pt x="82" y="40"/>
                  </a:moveTo>
                  <a:lnTo>
                    <a:pt x="82" y="40"/>
                  </a:lnTo>
                  <a:lnTo>
                    <a:pt x="82" y="50"/>
                  </a:lnTo>
                  <a:lnTo>
                    <a:pt x="78" y="56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4"/>
                  </a:lnTo>
                  <a:lnTo>
                    <a:pt x="58" y="78"/>
                  </a:lnTo>
                  <a:lnTo>
                    <a:pt x="5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18" y="74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6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6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78" y="24"/>
                  </a:lnTo>
                  <a:lnTo>
                    <a:pt x="82" y="32"/>
                  </a:lnTo>
                  <a:lnTo>
                    <a:pt x="82" y="40"/>
                  </a:lnTo>
                  <a:lnTo>
                    <a:pt x="82" y="40"/>
                  </a:lnTo>
                  <a:close/>
                  <a:moveTo>
                    <a:pt x="82" y="40"/>
                  </a:moveTo>
                  <a:lnTo>
                    <a:pt x="82" y="4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2" name="Freeform 27"/>
            <p:cNvSpPr>
              <a:spLocks/>
            </p:cNvSpPr>
            <p:nvPr/>
          </p:nvSpPr>
          <p:spPr bwMode="auto">
            <a:xfrm>
              <a:off x="2806700" y="2611953"/>
              <a:ext cx="130175" cy="130175"/>
            </a:xfrm>
            <a:custGeom>
              <a:avLst/>
              <a:gdLst>
                <a:gd name="T0" fmla="*/ 82 w 82"/>
                <a:gd name="T1" fmla="*/ 40 h 82"/>
                <a:gd name="T2" fmla="*/ 82 w 82"/>
                <a:gd name="T3" fmla="*/ 40 h 82"/>
                <a:gd name="T4" fmla="*/ 82 w 82"/>
                <a:gd name="T5" fmla="*/ 50 h 82"/>
                <a:gd name="T6" fmla="*/ 78 w 82"/>
                <a:gd name="T7" fmla="*/ 56 h 82"/>
                <a:gd name="T8" fmla="*/ 76 w 82"/>
                <a:gd name="T9" fmla="*/ 64 h 82"/>
                <a:gd name="T10" fmla="*/ 70 w 82"/>
                <a:gd name="T11" fmla="*/ 70 h 82"/>
                <a:gd name="T12" fmla="*/ 64 w 82"/>
                <a:gd name="T13" fmla="*/ 74 h 82"/>
                <a:gd name="T14" fmla="*/ 58 w 82"/>
                <a:gd name="T15" fmla="*/ 78 h 82"/>
                <a:gd name="T16" fmla="*/ 50 w 82"/>
                <a:gd name="T17" fmla="*/ 80 h 82"/>
                <a:gd name="T18" fmla="*/ 42 w 82"/>
                <a:gd name="T19" fmla="*/ 82 h 82"/>
                <a:gd name="T20" fmla="*/ 42 w 82"/>
                <a:gd name="T21" fmla="*/ 82 h 82"/>
                <a:gd name="T22" fmla="*/ 32 w 82"/>
                <a:gd name="T23" fmla="*/ 80 h 82"/>
                <a:gd name="T24" fmla="*/ 26 w 82"/>
                <a:gd name="T25" fmla="*/ 78 h 82"/>
                <a:gd name="T26" fmla="*/ 18 w 82"/>
                <a:gd name="T27" fmla="*/ 74 h 82"/>
                <a:gd name="T28" fmla="*/ 12 w 82"/>
                <a:gd name="T29" fmla="*/ 70 h 82"/>
                <a:gd name="T30" fmla="*/ 8 w 82"/>
                <a:gd name="T31" fmla="*/ 64 h 82"/>
                <a:gd name="T32" fmla="*/ 4 w 82"/>
                <a:gd name="T33" fmla="*/ 56 h 82"/>
                <a:gd name="T34" fmla="*/ 0 w 82"/>
                <a:gd name="T35" fmla="*/ 50 h 82"/>
                <a:gd name="T36" fmla="*/ 0 w 82"/>
                <a:gd name="T37" fmla="*/ 40 h 82"/>
                <a:gd name="T38" fmla="*/ 0 w 82"/>
                <a:gd name="T39" fmla="*/ 40 h 82"/>
                <a:gd name="T40" fmla="*/ 0 w 82"/>
                <a:gd name="T41" fmla="*/ 32 h 82"/>
                <a:gd name="T42" fmla="*/ 4 w 82"/>
                <a:gd name="T43" fmla="*/ 24 h 82"/>
                <a:gd name="T44" fmla="*/ 8 w 82"/>
                <a:gd name="T45" fmla="*/ 18 h 82"/>
                <a:gd name="T46" fmla="*/ 12 w 82"/>
                <a:gd name="T47" fmla="*/ 12 h 82"/>
                <a:gd name="T48" fmla="*/ 18 w 82"/>
                <a:gd name="T49" fmla="*/ 6 h 82"/>
                <a:gd name="T50" fmla="*/ 26 w 82"/>
                <a:gd name="T51" fmla="*/ 4 h 82"/>
                <a:gd name="T52" fmla="*/ 32 w 82"/>
                <a:gd name="T53" fmla="*/ 0 h 82"/>
                <a:gd name="T54" fmla="*/ 42 w 82"/>
                <a:gd name="T55" fmla="*/ 0 h 82"/>
                <a:gd name="T56" fmla="*/ 42 w 82"/>
                <a:gd name="T57" fmla="*/ 0 h 82"/>
                <a:gd name="T58" fmla="*/ 50 w 82"/>
                <a:gd name="T59" fmla="*/ 0 h 82"/>
                <a:gd name="T60" fmla="*/ 58 w 82"/>
                <a:gd name="T61" fmla="*/ 4 h 82"/>
                <a:gd name="T62" fmla="*/ 64 w 82"/>
                <a:gd name="T63" fmla="*/ 6 h 82"/>
                <a:gd name="T64" fmla="*/ 70 w 82"/>
                <a:gd name="T65" fmla="*/ 12 h 82"/>
                <a:gd name="T66" fmla="*/ 76 w 82"/>
                <a:gd name="T67" fmla="*/ 18 h 82"/>
                <a:gd name="T68" fmla="*/ 78 w 82"/>
                <a:gd name="T69" fmla="*/ 24 h 82"/>
                <a:gd name="T70" fmla="*/ 82 w 82"/>
                <a:gd name="T71" fmla="*/ 32 h 82"/>
                <a:gd name="T72" fmla="*/ 82 w 82"/>
                <a:gd name="T73" fmla="*/ 40 h 82"/>
                <a:gd name="T74" fmla="*/ 82 w 82"/>
                <a:gd name="T75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2" h="82">
                  <a:moveTo>
                    <a:pt x="82" y="40"/>
                  </a:moveTo>
                  <a:lnTo>
                    <a:pt x="82" y="40"/>
                  </a:lnTo>
                  <a:lnTo>
                    <a:pt x="82" y="50"/>
                  </a:lnTo>
                  <a:lnTo>
                    <a:pt x="78" y="56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4"/>
                  </a:lnTo>
                  <a:lnTo>
                    <a:pt x="58" y="78"/>
                  </a:lnTo>
                  <a:lnTo>
                    <a:pt x="5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18" y="74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6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6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78" y="24"/>
                  </a:lnTo>
                  <a:lnTo>
                    <a:pt x="82" y="32"/>
                  </a:lnTo>
                  <a:lnTo>
                    <a:pt x="82" y="40"/>
                  </a:lnTo>
                  <a:lnTo>
                    <a:pt x="82" y="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3" name="Line 28"/>
            <p:cNvSpPr>
              <a:spLocks noChangeShapeType="1"/>
            </p:cNvSpPr>
            <p:nvPr/>
          </p:nvSpPr>
          <p:spPr bwMode="auto">
            <a:xfrm>
              <a:off x="2936875" y="267545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658905" y="3414776"/>
            <a:ext cx="3074639" cy="2420509"/>
            <a:chOff x="1892300" y="2866386"/>
            <a:chExt cx="6981700" cy="3160836"/>
          </a:xfrm>
        </p:grpSpPr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1892300" y="2866386"/>
              <a:ext cx="6981700" cy="1456057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50800" dir="10800000" algn="r" rotWithShape="0">
                <a:srgbClr val="0065BD"/>
              </a:outerShdw>
            </a:effectLst>
          </p:spPr>
          <p:txBody>
            <a:bodyPr lIns="216000" tIns="91440" rIns="180000" bIns="91440" anchor="ctr"/>
            <a:lstStyle/>
            <a:p>
              <a:r>
                <a:rPr lang="cs-CZ" sz="2400" dirty="0"/>
                <a:t>Vyplňování dat</a:t>
              </a: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1892300" y="4571165"/>
              <a:ext cx="6981700" cy="1456057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50800" dir="10800000" algn="r" rotWithShape="0">
                <a:srgbClr val="0065BD"/>
              </a:outerShdw>
            </a:effectLst>
          </p:spPr>
          <p:txBody>
            <a:bodyPr lIns="216000" tIns="91440" rIns="180000" bIns="91440" anchor="ctr"/>
            <a:lstStyle/>
            <a:p>
              <a:r>
                <a:rPr lang="cs-CZ" sz="2400" dirty="0"/>
                <a:t>Filtrace da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112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Use </a:t>
            </a:r>
            <a:r>
              <a:rPr lang="cs-CZ" dirty="0" err="1"/>
              <a:t>Cases</a:t>
            </a:r>
            <a:endParaRPr lang="en-US" dirty="0"/>
          </a:p>
        </p:txBody>
      </p:sp>
      <p:pic>
        <p:nvPicPr>
          <p:cNvPr id="5" name="Obrázek 4" descr="Obsah obrázku text&#10;&#10;Popis vygenerován s velmi vysokou mírou spolehlivost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255" y="1449055"/>
            <a:ext cx="8854904" cy="4709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794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iagram tří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492" y="1633164"/>
            <a:ext cx="8868508" cy="4697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33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ůsledky zavedení systému</a:t>
            </a:r>
          </a:p>
        </p:txBody>
      </p:sp>
      <p:sp>
        <p:nvSpPr>
          <p:cNvPr id="12" name="Zástupný symbol pro text 2"/>
          <p:cNvSpPr txBox="1">
            <a:spLocks/>
          </p:cNvSpPr>
          <p:nvPr/>
        </p:nvSpPr>
        <p:spPr>
          <a:xfrm>
            <a:off x="4764835" y="3361611"/>
            <a:ext cx="3893391" cy="2756777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dílení dobrovolníků mezi pobočkami 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 err="1"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 management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Vyhledávání dobrovolníků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Menší chybovost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Změna dat jen na jednom místě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Dobrovolníci si sami budou aktualizovat údaje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Možné využít pro statistiky v oblasti dobrovolnictví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gray">
          <a:xfrm>
            <a:off x="520066" y="2869168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hradí: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764835" y="2869168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nadní: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020562" y="1702155"/>
            <a:ext cx="892399" cy="1002877"/>
            <a:chOff x="3486741" y="3706761"/>
            <a:chExt cx="983739" cy="1105525"/>
          </a:xfrm>
          <a:solidFill>
            <a:srgbClr val="0065BD"/>
          </a:solidFill>
        </p:grpSpPr>
        <p:sp>
          <p:nvSpPr>
            <p:cNvPr id="19" name="Freeform 38"/>
            <p:cNvSpPr>
              <a:spLocks noEditPoints="1"/>
            </p:cNvSpPr>
            <p:nvPr/>
          </p:nvSpPr>
          <p:spPr bwMode="auto">
            <a:xfrm>
              <a:off x="3486741" y="3706761"/>
              <a:ext cx="983739" cy="1105525"/>
            </a:xfrm>
            <a:custGeom>
              <a:avLst/>
              <a:gdLst>
                <a:gd name="T0" fmla="*/ 762 w 937"/>
                <a:gd name="T1" fmla="*/ 350 h 1053"/>
                <a:gd name="T2" fmla="*/ 585 w 937"/>
                <a:gd name="T3" fmla="*/ 350 h 1053"/>
                <a:gd name="T4" fmla="*/ 585 w 937"/>
                <a:gd name="T5" fmla="*/ 175 h 1053"/>
                <a:gd name="T6" fmla="*/ 410 w 937"/>
                <a:gd name="T7" fmla="*/ 0 h 1053"/>
                <a:gd name="T8" fmla="*/ 0 w 937"/>
                <a:gd name="T9" fmla="*/ 0 h 1053"/>
                <a:gd name="T10" fmla="*/ 0 w 937"/>
                <a:gd name="T11" fmla="*/ 703 h 1053"/>
                <a:gd name="T12" fmla="*/ 350 w 937"/>
                <a:gd name="T13" fmla="*/ 703 h 1053"/>
                <a:gd name="T14" fmla="*/ 350 w 937"/>
                <a:gd name="T15" fmla="*/ 1053 h 1053"/>
                <a:gd name="T16" fmla="*/ 937 w 937"/>
                <a:gd name="T17" fmla="*/ 1053 h 1053"/>
                <a:gd name="T18" fmla="*/ 937 w 937"/>
                <a:gd name="T19" fmla="*/ 526 h 1053"/>
                <a:gd name="T20" fmla="*/ 762 w 937"/>
                <a:gd name="T21" fmla="*/ 350 h 1053"/>
                <a:gd name="T22" fmla="*/ 762 w 937"/>
                <a:gd name="T23" fmla="*/ 474 h 1053"/>
                <a:gd name="T24" fmla="*/ 813 w 937"/>
                <a:gd name="T25" fmla="*/ 526 h 1053"/>
                <a:gd name="T26" fmla="*/ 762 w 937"/>
                <a:gd name="T27" fmla="*/ 526 h 1053"/>
                <a:gd name="T28" fmla="*/ 762 w 937"/>
                <a:gd name="T29" fmla="*/ 474 h 1053"/>
                <a:gd name="T30" fmla="*/ 410 w 937"/>
                <a:gd name="T31" fmla="*/ 124 h 1053"/>
                <a:gd name="T32" fmla="*/ 461 w 937"/>
                <a:gd name="T33" fmla="*/ 175 h 1053"/>
                <a:gd name="T34" fmla="*/ 410 w 937"/>
                <a:gd name="T35" fmla="*/ 175 h 1053"/>
                <a:gd name="T36" fmla="*/ 410 w 937"/>
                <a:gd name="T37" fmla="*/ 124 h 1053"/>
                <a:gd name="T38" fmla="*/ 350 w 937"/>
                <a:gd name="T39" fmla="*/ 615 h 1053"/>
                <a:gd name="T40" fmla="*/ 88 w 937"/>
                <a:gd name="T41" fmla="*/ 615 h 1053"/>
                <a:gd name="T42" fmla="*/ 88 w 937"/>
                <a:gd name="T43" fmla="*/ 88 h 1053"/>
                <a:gd name="T44" fmla="*/ 350 w 937"/>
                <a:gd name="T45" fmla="*/ 88 h 1053"/>
                <a:gd name="T46" fmla="*/ 350 w 937"/>
                <a:gd name="T47" fmla="*/ 234 h 1053"/>
                <a:gd name="T48" fmla="*/ 497 w 937"/>
                <a:gd name="T49" fmla="*/ 234 h 1053"/>
                <a:gd name="T50" fmla="*/ 497 w 937"/>
                <a:gd name="T51" fmla="*/ 350 h 1053"/>
                <a:gd name="T52" fmla="*/ 350 w 937"/>
                <a:gd name="T53" fmla="*/ 350 h 1053"/>
                <a:gd name="T54" fmla="*/ 350 w 937"/>
                <a:gd name="T55" fmla="*/ 615 h 1053"/>
                <a:gd name="T56" fmla="*/ 850 w 937"/>
                <a:gd name="T57" fmla="*/ 966 h 1053"/>
                <a:gd name="T58" fmla="*/ 440 w 937"/>
                <a:gd name="T59" fmla="*/ 966 h 1053"/>
                <a:gd name="T60" fmla="*/ 440 w 937"/>
                <a:gd name="T61" fmla="*/ 438 h 1053"/>
                <a:gd name="T62" fmla="*/ 703 w 937"/>
                <a:gd name="T63" fmla="*/ 438 h 1053"/>
                <a:gd name="T64" fmla="*/ 703 w 937"/>
                <a:gd name="T65" fmla="*/ 585 h 1053"/>
                <a:gd name="T66" fmla="*/ 850 w 937"/>
                <a:gd name="T67" fmla="*/ 585 h 1053"/>
                <a:gd name="T68" fmla="*/ 850 w 937"/>
                <a:gd name="T69" fmla="*/ 966 h 1053"/>
                <a:gd name="T70" fmla="*/ 850 w 937"/>
                <a:gd name="T71" fmla="*/ 966 h 1053"/>
                <a:gd name="T72" fmla="*/ 850 w 937"/>
                <a:gd name="T73" fmla="*/ 966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37" h="1053">
                  <a:moveTo>
                    <a:pt x="762" y="350"/>
                  </a:moveTo>
                  <a:lnTo>
                    <a:pt x="585" y="350"/>
                  </a:lnTo>
                  <a:lnTo>
                    <a:pt x="585" y="175"/>
                  </a:lnTo>
                  <a:lnTo>
                    <a:pt x="410" y="0"/>
                  </a:lnTo>
                  <a:lnTo>
                    <a:pt x="0" y="0"/>
                  </a:lnTo>
                  <a:lnTo>
                    <a:pt x="0" y="703"/>
                  </a:lnTo>
                  <a:lnTo>
                    <a:pt x="350" y="703"/>
                  </a:lnTo>
                  <a:lnTo>
                    <a:pt x="350" y="1053"/>
                  </a:lnTo>
                  <a:lnTo>
                    <a:pt x="937" y="1053"/>
                  </a:lnTo>
                  <a:lnTo>
                    <a:pt x="937" y="526"/>
                  </a:lnTo>
                  <a:lnTo>
                    <a:pt x="762" y="350"/>
                  </a:lnTo>
                  <a:close/>
                  <a:moveTo>
                    <a:pt x="762" y="474"/>
                  </a:moveTo>
                  <a:lnTo>
                    <a:pt x="813" y="526"/>
                  </a:lnTo>
                  <a:lnTo>
                    <a:pt x="762" y="526"/>
                  </a:lnTo>
                  <a:lnTo>
                    <a:pt x="762" y="474"/>
                  </a:lnTo>
                  <a:close/>
                  <a:moveTo>
                    <a:pt x="410" y="124"/>
                  </a:moveTo>
                  <a:lnTo>
                    <a:pt x="461" y="175"/>
                  </a:lnTo>
                  <a:lnTo>
                    <a:pt x="410" y="175"/>
                  </a:lnTo>
                  <a:lnTo>
                    <a:pt x="410" y="124"/>
                  </a:lnTo>
                  <a:close/>
                  <a:moveTo>
                    <a:pt x="350" y="615"/>
                  </a:moveTo>
                  <a:lnTo>
                    <a:pt x="88" y="615"/>
                  </a:lnTo>
                  <a:lnTo>
                    <a:pt x="88" y="88"/>
                  </a:lnTo>
                  <a:lnTo>
                    <a:pt x="350" y="88"/>
                  </a:lnTo>
                  <a:lnTo>
                    <a:pt x="350" y="234"/>
                  </a:lnTo>
                  <a:lnTo>
                    <a:pt x="497" y="234"/>
                  </a:lnTo>
                  <a:lnTo>
                    <a:pt x="497" y="350"/>
                  </a:lnTo>
                  <a:lnTo>
                    <a:pt x="350" y="350"/>
                  </a:lnTo>
                  <a:lnTo>
                    <a:pt x="350" y="615"/>
                  </a:lnTo>
                  <a:close/>
                  <a:moveTo>
                    <a:pt x="850" y="966"/>
                  </a:moveTo>
                  <a:lnTo>
                    <a:pt x="440" y="966"/>
                  </a:lnTo>
                  <a:lnTo>
                    <a:pt x="440" y="438"/>
                  </a:lnTo>
                  <a:lnTo>
                    <a:pt x="703" y="438"/>
                  </a:lnTo>
                  <a:lnTo>
                    <a:pt x="703" y="585"/>
                  </a:lnTo>
                  <a:lnTo>
                    <a:pt x="850" y="585"/>
                  </a:lnTo>
                  <a:lnTo>
                    <a:pt x="850" y="966"/>
                  </a:lnTo>
                  <a:close/>
                  <a:moveTo>
                    <a:pt x="850" y="966"/>
                  </a:moveTo>
                  <a:lnTo>
                    <a:pt x="850" y="9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39"/>
            <p:cNvSpPr>
              <a:spLocks/>
            </p:cNvSpPr>
            <p:nvPr/>
          </p:nvSpPr>
          <p:spPr bwMode="auto">
            <a:xfrm>
              <a:off x="3486741" y="3706761"/>
              <a:ext cx="983739" cy="1105525"/>
            </a:xfrm>
            <a:custGeom>
              <a:avLst/>
              <a:gdLst>
                <a:gd name="T0" fmla="*/ 762 w 937"/>
                <a:gd name="T1" fmla="*/ 350 h 1053"/>
                <a:gd name="T2" fmla="*/ 585 w 937"/>
                <a:gd name="T3" fmla="*/ 350 h 1053"/>
                <a:gd name="T4" fmla="*/ 585 w 937"/>
                <a:gd name="T5" fmla="*/ 175 h 1053"/>
                <a:gd name="T6" fmla="*/ 410 w 937"/>
                <a:gd name="T7" fmla="*/ 0 h 1053"/>
                <a:gd name="T8" fmla="*/ 0 w 937"/>
                <a:gd name="T9" fmla="*/ 0 h 1053"/>
                <a:gd name="T10" fmla="*/ 0 w 937"/>
                <a:gd name="T11" fmla="*/ 703 h 1053"/>
                <a:gd name="T12" fmla="*/ 350 w 937"/>
                <a:gd name="T13" fmla="*/ 703 h 1053"/>
                <a:gd name="T14" fmla="*/ 350 w 937"/>
                <a:gd name="T15" fmla="*/ 1053 h 1053"/>
                <a:gd name="T16" fmla="*/ 937 w 937"/>
                <a:gd name="T17" fmla="*/ 1053 h 1053"/>
                <a:gd name="T18" fmla="*/ 937 w 937"/>
                <a:gd name="T19" fmla="*/ 526 h 1053"/>
                <a:gd name="T20" fmla="*/ 762 w 937"/>
                <a:gd name="T21" fmla="*/ 35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37" h="1053">
                  <a:moveTo>
                    <a:pt x="762" y="350"/>
                  </a:moveTo>
                  <a:lnTo>
                    <a:pt x="585" y="350"/>
                  </a:lnTo>
                  <a:lnTo>
                    <a:pt x="585" y="175"/>
                  </a:lnTo>
                  <a:lnTo>
                    <a:pt x="410" y="0"/>
                  </a:lnTo>
                  <a:lnTo>
                    <a:pt x="0" y="0"/>
                  </a:lnTo>
                  <a:lnTo>
                    <a:pt x="0" y="703"/>
                  </a:lnTo>
                  <a:lnTo>
                    <a:pt x="350" y="703"/>
                  </a:lnTo>
                  <a:lnTo>
                    <a:pt x="350" y="1053"/>
                  </a:lnTo>
                  <a:lnTo>
                    <a:pt x="937" y="1053"/>
                  </a:lnTo>
                  <a:lnTo>
                    <a:pt x="937" y="526"/>
                  </a:lnTo>
                  <a:lnTo>
                    <a:pt x="762" y="35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40"/>
            <p:cNvSpPr>
              <a:spLocks/>
            </p:cNvSpPr>
            <p:nvPr/>
          </p:nvSpPr>
          <p:spPr bwMode="auto">
            <a:xfrm>
              <a:off x="4286750" y="4204404"/>
              <a:ext cx="53544" cy="54594"/>
            </a:xfrm>
            <a:custGeom>
              <a:avLst/>
              <a:gdLst>
                <a:gd name="T0" fmla="*/ 0 w 51"/>
                <a:gd name="T1" fmla="*/ 0 h 52"/>
                <a:gd name="T2" fmla="*/ 51 w 51"/>
                <a:gd name="T3" fmla="*/ 52 h 52"/>
                <a:gd name="T4" fmla="*/ 0 w 51"/>
                <a:gd name="T5" fmla="*/ 52 h 52"/>
                <a:gd name="T6" fmla="*/ 0 w 51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2">
                  <a:moveTo>
                    <a:pt x="0" y="0"/>
                  </a:moveTo>
                  <a:lnTo>
                    <a:pt x="51" y="52"/>
                  </a:ln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41"/>
            <p:cNvSpPr>
              <a:spLocks/>
            </p:cNvSpPr>
            <p:nvPr/>
          </p:nvSpPr>
          <p:spPr bwMode="auto">
            <a:xfrm>
              <a:off x="3917192" y="3836946"/>
              <a:ext cx="53544" cy="53544"/>
            </a:xfrm>
            <a:custGeom>
              <a:avLst/>
              <a:gdLst>
                <a:gd name="T0" fmla="*/ 0 w 51"/>
                <a:gd name="T1" fmla="*/ 0 h 51"/>
                <a:gd name="T2" fmla="*/ 51 w 51"/>
                <a:gd name="T3" fmla="*/ 51 h 51"/>
                <a:gd name="T4" fmla="*/ 0 w 51"/>
                <a:gd name="T5" fmla="*/ 51 h 51"/>
                <a:gd name="T6" fmla="*/ 0 w 51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0" y="0"/>
                  </a:moveTo>
                  <a:lnTo>
                    <a:pt x="51" y="51"/>
                  </a:lnTo>
                  <a:lnTo>
                    <a:pt x="0" y="51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42"/>
            <p:cNvSpPr>
              <a:spLocks/>
            </p:cNvSpPr>
            <p:nvPr/>
          </p:nvSpPr>
          <p:spPr bwMode="auto">
            <a:xfrm>
              <a:off x="3579130" y="3799150"/>
              <a:ext cx="429401" cy="553287"/>
            </a:xfrm>
            <a:custGeom>
              <a:avLst/>
              <a:gdLst>
                <a:gd name="T0" fmla="*/ 262 w 409"/>
                <a:gd name="T1" fmla="*/ 527 h 527"/>
                <a:gd name="T2" fmla="*/ 0 w 409"/>
                <a:gd name="T3" fmla="*/ 527 h 527"/>
                <a:gd name="T4" fmla="*/ 0 w 409"/>
                <a:gd name="T5" fmla="*/ 0 h 527"/>
                <a:gd name="T6" fmla="*/ 262 w 409"/>
                <a:gd name="T7" fmla="*/ 0 h 527"/>
                <a:gd name="T8" fmla="*/ 262 w 409"/>
                <a:gd name="T9" fmla="*/ 146 h 527"/>
                <a:gd name="T10" fmla="*/ 409 w 409"/>
                <a:gd name="T11" fmla="*/ 146 h 527"/>
                <a:gd name="T12" fmla="*/ 409 w 409"/>
                <a:gd name="T13" fmla="*/ 262 h 527"/>
                <a:gd name="T14" fmla="*/ 262 w 409"/>
                <a:gd name="T15" fmla="*/ 262 h 527"/>
                <a:gd name="T16" fmla="*/ 262 w 409"/>
                <a:gd name="T17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527">
                  <a:moveTo>
                    <a:pt x="262" y="527"/>
                  </a:moveTo>
                  <a:lnTo>
                    <a:pt x="0" y="527"/>
                  </a:lnTo>
                  <a:lnTo>
                    <a:pt x="0" y="0"/>
                  </a:lnTo>
                  <a:lnTo>
                    <a:pt x="262" y="0"/>
                  </a:lnTo>
                  <a:lnTo>
                    <a:pt x="262" y="146"/>
                  </a:lnTo>
                  <a:lnTo>
                    <a:pt x="409" y="146"/>
                  </a:lnTo>
                  <a:lnTo>
                    <a:pt x="409" y="262"/>
                  </a:lnTo>
                  <a:lnTo>
                    <a:pt x="262" y="262"/>
                  </a:lnTo>
                  <a:lnTo>
                    <a:pt x="262" y="52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43"/>
            <p:cNvSpPr>
              <a:spLocks/>
            </p:cNvSpPr>
            <p:nvPr/>
          </p:nvSpPr>
          <p:spPr bwMode="auto">
            <a:xfrm>
              <a:off x="3948688" y="4166609"/>
              <a:ext cx="430451" cy="554337"/>
            </a:xfrm>
            <a:custGeom>
              <a:avLst/>
              <a:gdLst>
                <a:gd name="T0" fmla="*/ 410 w 410"/>
                <a:gd name="T1" fmla="*/ 528 h 528"/>
                <a:gd name="T2" fmla="*/ 0 w 410"/>
                <a:gd name="T3" fmla="*/ 528 h 528"/>
                <a:gd name="T4" fmla="*/ 0 w 410"/>
                <a:gd name="T5" fmla="*/ 0 h 528"/>
                <a:gd name="T6" fmla="*/ 263 w 410"/>
                <a:gd name="T7" fmla="*/ 0 h 528"/>
                <a:gd name="T8" fmla="*/ 263 w 410"/>
                <a:gd name="T9" fmla="*/ 147 h 528"/>
                <a:gd name="T10" fmla="*/ 410 w 410"/>
                <a:gd name="T11" fmla="*/ 147 h 528"/>
                <a:gd name="T12" fmla="*/ 410 w 410"/>
                <a:gd name="T13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528">
                  <a:moveTo>
                    <a:pt x="410" y="528"/>
                  </a:moveTo>
                  <a:lnTo>
                    <a:pt x="0" y="528"/>
                  </a:lnTo>
                  <a:lnTo>
                    <a:pt x="0" y="0"/>
                  </a:lnTo>
                  <a:lnTo>
                    <a:pt x="263" y="0"/>
                  </a:lnTo>
                  <a:lnTo>
                    <a:pt x="263" y="147"/>
                  </a:lnTo>
                  <a:lnTo>
                    <a:pt x="410" y="147"/>
                  </a:lnTo>
                  <a:lnTo>
                    <a:pt x="410" y="52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Line 44"/>
            <p:cNvSpPr>
              <a:spLocks noChangeShapeType="1"/>
            </p:cNvSpPr>
            <p:nvPr/>
          </p:nvSpPr>
          <p:spPr bwMode="auto">
            <a:xfrm>
              <a:off x="4379140" y="472094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Rectangle 45"/>
            <p:cNvSpPr>
              <a:spLocks noChangeArrowheads="1"/>
            </p:cNvSpPr>
            <p:nvPr/>
          </p:nvSpPr>
          <p:spPr bwMode="auto">
            <a:xfrm>
              <a:off x="4031368" y="4570676"/>
              <a:ext cx="92390" cy="923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Rectangle 46"/>
            <p:cNvSpPr>
              <a:spLocks noChangeArrowheads="1"/>
            </p:cNvSpPr>
            <p:nvPr/>
          </p:nvSpPr>
          <p:spPr bwMode="auto">
            <a:xfrm>
              <a:off x="4031368" y="4233664"/>
              <a:ext cx="92390" cy="2750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Freeform 47"/>
            <p:cNvSpPr>
              <a:spLocks noEditPoints="1"/>
            </p:cNvSpPr>
            <p:nvPr/>
          </p:nvSpPr>
          <p:spPr bwMode="auto">
            <a:xfrm>
              <a:off x="4162864" y="3706761"/>
              <a:ext cx="307615" cy="338062"/>
            </a:xfrm>
            <a:custGeom>
              <a:avLst/>
              <a:gdLst>
                <a:gd name="T0" fmla="*/ 118 w 293"/>
                <a:gd name="T1" fmla="*/ 88 h 322"/>
                <a:gd name="T2" fmla="*/ 118 w 293"/>
                <a:gd name="T3" fmla="*/ 0 h 322"/>
                <a:gd name="T4" fmla="*/ 0 w 293"/>
                <a:gd name="T5" fmla="*/ 116 h 322"/>
                <a:gd name="T6" fmla="*/ 118 w 293"/>
                <a:gd name="T7" fmla="*/ 234 h 322"/>
                <a:gd name="T8" fmla="*/ 118 w 293"/>
                <a:gd name="T9" fmla="*/ 147 h 322"/>
                <a:gd name="T10" fmla="*/ 118 w 293"/>
                <a:gd name="T11" fmla="*/ 147 h 322"/>
                <a:gd name="T12" fmla="*/ 129 w 293"/>
                <a:gd name="T13" fmla="*/ 147 h 322"/>
                <a:gd name="T14" fmla="*/ 141 w 293"/>
                <a:gd name="T15" fmla="*/ 148 h 322"/>
                <a:gd name="T16" fmla="*/ 152 w 293"/>
                <a:gd name="T17" fmla="*/ 152 h 322"/>
                <a:gd name="T18" fmla="*/ 162 w 293"/>
                <a:gd name="T19" fmla="*/ 156 h 322"/>
                <a:gd name="T20" fmla="*/ 183 w 293"/>
                <a:gd name="T21" fmla="*/ 166 h 322"/>
                <a:gd name="T22" fmla="*/ 200 w 293"/>
                <a:gd name="T23" fmla="*/ 181 h 322"/>
                <a:gd name="T24" fmla="*/ 213 w 293"/>
                <a:gd name="T25" fmla="*/ 198 h 322"/>
                <a:gd name="T26" fmla="*/ 225 w 293"/>
                <a:gd name="T27" fmla="*/ 217 h 322"/>
                <a:gd name="T28" fmla="*/ 228 w 293"/>
                <a:gd name="T29" fmla="*/ 228 h 322"/>
                <a:gd name="T30" fmla="*/ 232 w 293"/>
                <a:gd name="T31" fmla="*/ 240 h 322"/>
                <a:gd name="T32" fmla="*/ 234 w 293"/>
                <a:gd name="T33" fmla="*/ 251 h 322"/>
                <a:gd name="T34" fmla="*/ 234 w 293"/>
                <a:gd name="T35" fmla="*/ 263 h 322"/>
                <a:gd name="T36" fmla="*/ 234 w 293"/>
                <a:gd name="T37" fmla="*/ 322 h 322"/>
                <a:gd name="T38" fmla="*/ 293 w 293"/>
                <a:gd name="T39" fmla="*/ 322 h 322"/>
                <a:gd name="T40" fmla="*/ 293 w 293"/>
                <a:gd name="T41" fmla="*/ 263 h 322"/>
                <a:gd name="T42" fmla="*/ 293 w 293"/>
                <a:gd name="T43" fmla="*/ 263 h 322"/>
                <a:gd name="T44" fmla="*/ 291 w 293"/>
                <a:gd name="T45" fmla="*/ 246 h 322"/>
                <a:gd name="T46" fmla="*/ 289 w 293"/>
                <a:gd name="T47" fmla="*/ 228 h 322"/>
                <a:gd name="T48" fmla="*/ 286 w 293"/>
                <a:gd name="T49" fmla="*/ 211 h 322"/>
                <a:gd name="T50" fmla="*/ 278 w 293"/>
                <a:gd name="T51" fmla="*/ 194 h 322"/>
                <a:gd name="T52" fmla="*/ 272 w 293"/>
                <a:gd name="T53" fmla="*/ 179 h 322"/>
                <a:gd name="T54" fmla="*/ 263 w 293"/>
                <a:gd name="T55" fmla="*/ 166 h 322"/>
                <a:gd name="T56" fmla="*/ 253 w 293"/>
                <a:gd name="T57" fmla="*/ 152 h 322"/>
                <a:gd name="T58" fmla="*/ 242 w 293"/>
                <a:gd name="T59" fmla="*/ 139 h 322"/>
                <a:gd name="T60" fmla="*/ 228 w 293"/>
                <a:gd name="T61" fmla="*/ 128 h 322"/>
                <a:gd name="T62" fmla="*/ 215 w 293"/>
                <a:gd name="T63" fmla="*/ 118 h 322"/>
                <a:gd name="T64" fmla="*/ 200 w 293"/>
                <a:gd name="T65" fmla="*/ 108 h 322"/>
                <a:gd name="T66" fmla="*/ 185 w 293"/>
                <a:gd name="T67" fmla="*/ 101 h 322"/>
                <a:gd name="T68" fmla="*/ 169 w 293"/>
                <a:gd name="T69" fmla="*/ 95 h 322"/>
                <a:gd name="T70" fmla="*/ 152 w 293"/>
                <a:gd name="T71" fmla="*/ 91 h 322"/>
                <a:gd name="T72" fmla="*/ 135 w 293"/>
                <a:gd name="T73" fmla="*/ 89 h 322"/>
                <a:gd name="T74" fmla="*/ 118 w 293"/>
                <a:gd name="T75" fmla="*/ 88 h 322"/>
                <a:gd name="T76" fmla="*/ 118 w 293"/>
                <a:gd name="T77" fmla="*/ 88 h 322"/>
                <a:gd name="T78" fmla="*/ 118 w 293"/>
                <a:gd name="T79" fmla="*/ 88 h 322"/>
                <a:gd name="T80" fmla="*/ 118 w 293"/>
                <a:gd name="T81" fmla="*/ 8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3" h="322">
                  <a:moveTo>
                    <a:pt x="118" y="88"/>
                  </a:moveTo>
                  <a:lnTo>
                    <a:pt x="118" y="0"/>
                  </a:lnTo>
                  <a:lnTo>
                    <a:pt x="0" y="116"/>
                  </a:lnTo>
                  <a:lnTo>
                    <a:pt x="118" y="23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9" y="147"/>
                  </a:lnTo>
                  <a:lnTo>
                    <a:pt x="141" y="148"/>
                  </a:lnTo>
                  <a:lnTo>
                    <a:pt x="152" y="152"/>
                  </a:lnTo>
                  <a:lnTo>
                    <a:pt x="162" y="156"/>
                  </a:lnTo>
                  <a:lnTo>
                    <a:pt x="183" y="166"/>
                  </a:lnTo>
                  <a:lnTo>
                    <a:pt x="200" y="181"/>
                  </a:lnTo>
                  <a:lnTo>
                    <a:pt x="213" y="198"/>
                  </a:lnTo>
                  <a:lnTo>
                    <a:pt x="225" y="217"/>
                  </a:lnTo>
                  <a:lnTo>
                    <a:pt x="228" y="228"/>
                  </a:lnTo>
                  <a:lnTo>
                    <a:pt x="232" y="240"/>
                  </a:lnTo>
                  <a:lnTo>
                    <a:pt x="234" y="251"/>
                  </a:lnTo>
                  <a:lnTo>
                    <a:pt x="234" y="263"/>
                  </a:lnTo>
                  <a:lnTo>
                    <a:pt x="234" y="322"/>
                  </a:lnTo>
                  <a:lnTo>
                    <a:pt x="293" y="322"/>
                  </a:lnTo>
                  <a:lnTo>
                    <a:pt x="293" y="263"/>
                  </a:lnTo>
                  <a:lnTo>
                    <a:pt x="293" y="263"/>
                  </a:lnTo>
                  <a:lnTo>
                    <a:pt x="291" y="246"/>
                  </a:lnTo>
                  <a:lnTo>
                    <a:pt x="289" y="228"/>
                  </a:lnTo>
                  <a:lnTo>
                    <a:pt x="286" y="211"/>
                  </a:lnTo>
                  <a:lnTo>
                    <a:pt x="278" y="194"/>
                  </a:lnTo>
                  <a:lnTo>
                    <a:pt x="272" y="179"/>
                  </a:lnTo>
                  <a:lnTo>
                    <a:pt x="263" y="166"/>
                  </a:lnTo>
                  <a:lnTo>
                    <a:pt x="253" y="152"/>
                  </a:lnTo>
                  <a:lnTo>
                    <a:pt x="242" y="139"/>
                  </a:lnTo>
                  <a:lnTo>
                    <a:pt x="228" y="128"/>
                  </a:lnTo>
                  <a:lnTo>
                    <a:pt x="215" y="118"/>
                  </a:lnTo>
                  <a:lnTo>
                    <a:pt x="200" y="108"/>
                  </a:lnTo>
                  <a:lnTo>
                    <a:pt x="185" y="101"/>
                  </a:lnTo>
                  <a:lnTo>
                    <a:pt x="169" y="95"/>
                  </a:lnTo>
                  <a:lnTo>
                    <a:pt x="152" y="91"/>
                  </a:lnTo>
                  <a:lnTo>
                    <a:pt x="135" y="89"/>
                  </a:lnTo>
                  <a:lnTo>
                    <a:pt x="118" y="88"/>
                  </a:lnTo>
                  <a:lnTo>
                    <a:pt x="118" y="88"/>
                  </a:lnTo>
                  <a:close/>
                  <a:moveTo>
                    <a:pt x="118" y="88"/>
                  </a:moveTo>
                  <a:lnTo>
                    <a:pt x="118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48"/>
            <p:cNvSpPr>
              <a:spLocks/>
            </p:cNvSpPr>
            <p:nvPr/>
          </p:nvSpPr>
          <p:spPr bwMode="auto">
            <a:xfrm>
              <a:off x="4162864" y="3706761"/>
              <a:ext cx="307615" cy="338062"/>
            </a:xfrm>
            <a:custGeom>
              <a:avLst/>
              <a:gdLst>
                <a:gd name="T0" fmla="*/ 118 w 293"/>
                <a:gd name="T1" fmla="*/ 88 h 322"/>
                <a:gd name="T2" fmla="*/ 118 w 293"/>
                <a:gd name="T3" fmla="*/ 0 h 322"/>
                <a:gd name="T4" fmla="*/ 0 w 293"/>
                <a:gd name="T5" fmla="*/ 116 h 322"/>
                <a:gd name="T6" fmla="*/ 118 w 293"/>
                <a:gd name="T7" fmla="*/ 234 h 322"/>
                <a:gd name="T8" fmla="*/ 118 w 293"/>
                <a:gd name="T9" fmla="*/ 147 h 322"/>
                <a:gd name="T10" fmla="*/ 118 w 293"/>
                <a:gd name="T11" fmla="*/ 147 h 322"/>
                <a:gd name="T12" fmla="*/ 129 w 293"/>
                <a:gd name="T13" fmla="*/ 147 h 322"/>
                <a:gd name="T14" fmla="*/ 141 w 293"/>
                <a:gd name="T15" fmla="*/ 148 h 322"/>
                <a:gd name="T16" fmla="*/ 152 w 293"/>
                <a:gd name="T17" fmla="*/ 152 h 322"/>
                <a:gd name="T18" fmla="*/ 162 w 293"/>
                <a:gd name="T19" fmla="*/ 156 h 322"/>
                <a:gd name="T20" fmla="*/ 183 w 293"/>
                <a:gd name="T21" fmla="*/ 166 h 322"/>
                <a:gd name="T22" fmla="*/ 200 w 293"/>
                <a:gd name="T23" fmla="*/ 181 h 322"/>
                <a:gd name="T24" fmla="*/ 213 w 293"/>
                <a:gd name="T25" fmla="*/ 198 h 322"/>
                <a:gd name="T26" fmla="*/ 225 w 293"/>
                <a:gd name="T27" fmla="*/ 217 h 322"/>
                <a:gd name="T28" fmla="*/ 228 w 293"/>
                <a:gd name="T29" fmla="*/ 228 h 322"/>
                <a:gd name="T30" fmla="*/ 232 w 293"/>
                <a:gd name="T31" fmla="*/ 240 h 322"/>
                <a:gd name="T32" fmla="*/ 234 w 293"/>
                <a:gd name="T33" fmla="*/ 251 h 322"/>
                <a:gd name="T34" fmla="*/ 234 w 293"/>
                <a:gd name="T35" fmla="*/ 263 h 322"/>
                <a:gd name="T36" fmla="*/ 234 w 293"/>
                <a:gd name="T37" fmla="*/ 322 h 322"/>
                <a:gd name="T38" fmla="*/ 293 w 293"/>
                <a:gd name="T39" fmla="*/ 322 h 322"/>
                <a:gd name="T40" fmla="*/ 293 w 293"/>
                <a:gd name="T41" fmla="*/ 263 h 322"/>
                <a:gd name="T42" fmla="*/ 293 w 293"/>
                <a:gd name="T43" fmla="*/ 263 h 322"/>
                <a:gd name="T44" fmla="*/ 291 w 293"/>
                <a:gd name="T45" fmla="*/ 246 h 322"/>
                <a:gd name="T46" fmla="*/ 289 w 293"/>
                <a:gd name="T47" fmla="*/ 228 h 322"/>
                <a:gd name="T48" fmla="*/ 286 w 293"/>
                <a:gd name="T49" fmla="*/ 211 h 322"/>
                <a:gd name="T50" fmla="*/ 278 w 293"/>
                <a:gd name="T51" fmla="*/ 194 h 322"/>
                <a:gd name="T52" fmla="*/ 272 w 293"/>
                <a:gd name="T53" fmla="*/ 179 h 322"/>
                <a:gd name="T54" fmla="*/ 263 w 293"/>
                <a:gd name="T55" fmla="*/ 166 h 322"/>
                <a:gd name="T56" fmla="*/ 253 w 293"/>
                <a:gd name="T57" fmla="*/ 152 h 322"/>
                <a:gd name="T58" fmla="*/ 242 w 293"/>
                <a:gd name="T59" fmla="*/ 139 h 322"/>
                <a:gd name="T60" fmla="*/ 228 w 293"/>
                <a:gd name="T61" fmla="*/ 128 h 322"/>
                <a:gd name="T62" fmla="*/ 215 w 293"/>
                <a:gd name="T63" fmla="*/ 118 h 322"/>
                <a:gd name="T64" fmla="*/ 200 w 293"/>
                <a:gd name="T65" fmla="*/ 108 h 322"/>
                <a:gd name="T66" fmla="*/ 185 w 293"/>
                <a:gd name="T67" fmla="*/ 101 h 322"/>
                <a:gd name="T68" fmla="*/ 169 w 293"/>
                <a:gd name="T69" fmla="*/ 95 h 322"/>
                <a:gd name="T70" fmla="*/ 152 w 293"/>
                <a:gd name="T71" fmla="*/ 91 h 322"/>
                <a:gd name="T72" fmla="*/ 135 w 293"/>
                <a:gd name="T73" fmla="*/ 89 h 322"/>
                <a:gd name="T74" fmla="*/ 118 w 293"/>
                <a:gd name="T75" fmla="*/ 88 h 322"/>
                <a:gd name="T76" fmla="*/ 118 w 293"/>
                <a:gd name="T77" fmla="*/ 8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3" h="322">
                  <a:moveTo>
                    <a:pt x="118" y="88"/>
                  </a:moveTo>
                  <a:lnTo>
                    <a:pt x="118" y="0"/>
                  </a:lnTo>
                  <a:lnTo>
                    <a:pt x="0" y="116"/>
                  </a:lnTo>
                  <a:lnTo>
                    <a:pt x="118" y="23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9" y="147"/>
                  </a:lnTo>
                  <a:lnTo>
                    <a:pt x="141" y="148"/>
                  </a:lnTo>
                  <a:lnTo>
                    <a:pt x="152" y="152"/>
                  </a:lnTo>
                  <a:lnTo>
                    <a:pt x="162" y="156"/>
                  </a:lnTo>
                  <a:lnTo>
                    <a:pt x="183" y="166"/>
                  </a:lnTo>
                  <a:lnTo>
                    <a:pt x="200" y="181"/>
                  </a:lnTo>
                  <a:lnTo>
                    <a:pt x="213" y="198"/>
                  </a:lnTo>
                  <a:lnTo>
                    <a:pt x="225" y="217"/>
                  </a:lnTo>
                  <a:lnTo>
                    <a:pt x="228" y="228"/>
                  </a:lnTo>
                  <a:lnTo>
                    <a:pt x="232" y="240"/>
                  </a:lnTo>
                  <a:lnTo>
                    <a:pt x="234" y="251"/>
                  </a:lnTo>
                  <a:lnTo>
                    <a:pt x="234" y="263"/>
                  </a:lnTo>
                  <a:lnTo>
                    <a:pt x="234" y="322"/>
                  </a:lnTo>
                  <a:lnTo>
                    <a:pt x="293" y="322"/>
                  </a:lnTo>
                  <a:lnTo>
                    <a:pt x="293" y="263"/>
                  </a:lnTo>
                  <a:lnTo>
                    <a:pt x="293" y="263"/>
                  </a:lnTo>
                  <a:lnTo>
                    <a:pt x="291" y="246"/>
                  </a:lnTo>
                  <a:lnTo>
                    <a:pt x="289" y="228"/>
                  </a:lnTo>
                  <a:lnTo>
                    <a:pt x="286" y="211"/>
                  </a:lnTo>
                  <a:lnTo>
                    <a:pt x="278" y="194"/>
                  </a:lnTo>
                  <a:lnTo>
                    <a:pt x="272" y="179"/>
                  </a:lnTo>
                  <a:lnTo>
                    <a:pt x="263" y="166"/>
                  </a:lnTo>
                  <a:lnTo>
                    <a:pt x="253" y="152"/>
                  </a:lnTo>
                  <a:lnTo>
                    <a:pt x="242" y="139"/>
                  </a:lnTo>
                  <a:lnTo>
                    <a:pt x="228" y="128"/>
                  </a:lnTo>
                  <a:lnTo>
                    <a:pt x="215" y="118"/>
                  </a:lnTo>
                  <a:lnTo>
                    <a:pt x="200" y="108"/>
                  </a:lnTo>
                  <a:lnTo>
                    <a:pt x="185" y="101"/>
                  </a:lnTo>
                  <a:lnTo>
                    <a:pt x="169" y="95"/>
                  </a:lnTo>
                  <a:lnTo>
                    <a:pt x="152" y="91"/>
                  </a:lnTo>
                  <a:lnTo>
                    <a:pt x="135" y="89"/>
                  </a:lnTo>
                  <a:lnTo>
                    <a:pt x="118" y="88"/>
                  </a:lnTo>
                  <a:lnTo>
                    <a:pt x="118" y="8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Line 49"/>
            <p:cNvSpPr>
              <a:spLocks noChangeShapeType="1"/>
            </p:cNvSpPr>
            <p:nvPr/>
          </p:nvSpPr>
          <p:spPr bwMode="auto">
            <a:xfrm>
              <a:off x="4286750" y="37991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054796" y="1756557"/>
            <a:ext cx="1313469" cy="962793"/>
            <a:chOff x="6001731" y="1669827"/>
            <a:chExt cx="1431789" cy="1049523"/>
          </a:xfrm>
        </p:grpSpPr>
        <p:sp>
          <p:nvSpPr>
            <p:cNvPr id="31" name="Freeform 50"/>
            <p:cNvSpPr>
              <a:spLocks noEditPoints="1"/>
            </p:cNvSpPr>
            <p:nvPr/>
          </p:nvSpPr>
          <p:spPr bwMode="auto">
            <a:xfrm>
              <a:off x="6841387" y="1669827"/>
              <a:ext cx="592133" cy="709720"/>
            </a:xfrm>
            <a:custGeom>
              <a:avLst/>
              <a:gdLst>
                <a:gd name="T0" fmla="*/ 394 w 564"/>
                <a:gd name="T1" fmla="*/ 0 h 676"/>
                <a:gd name="T2" fmla="*/ 234 w 564"/>
                <a:gd name="T3" fmla="*/ 0 h 676"/>
                <a:gd name="T4" fmla="*/ 118 w 564"/>
                <a:gd name="T5" fmla="*/ 0 h 676"/>
                <a:gd name="T6" fmla="*/ 93 w 564"/>
                <a:gd name="T7" fmla="*/ 0 h 676"/>
                <a:gd name="T8" fmla="*/ 0 w 564"/>
                <a:gd name="T9" fmla="*/ 0 h 676"/>
                <a:gd name="T10" fmla="*/ 0 w 564"/>
                <a:gd name="T11" fmla="*/ 101 h 676"/>
                <a:gd name="T12" fmla="*/ 0 w 564"/>
                <a:gd name="T13" fmla="*/ 253 h 676"/>
                <a:gd name="T14" fmla="*/ 0 w 564"/>
                <a:gd name="T15" fmla="*/ 337 h 676"/>
                <a:gd name="T16" fmla="*/ 0 w 564"/>
                <a:gd name="T17" fmla="*/ 676 h 676"/>
                <a:gd name="T18" fmla="*/ 564 w 564"/>
                <a:gd name="T19" fmla="*/ 676 h 676"/>
                <a:gd name="T20" fmla="*/ 564 w 564"/>
                <a:gd name="T21" fmla="*/ 169 h 676"/>
                <a:gd name="T22" fmla="*/ 394 w 564"/>
                <a:gd name="T23" fmla="*/ 0 h 676"/>
                <a:gd name="T24" fmla="*/ 394 w 564"/>
                <a:gd name="T25" fmla="*/ 120 h 676"/>
                <a:gd name="T26" fmla="*/ 444 w 564"/>
                <a:gd name="T27" fmla="*/ 169 h 676"/>
                <a:gd name="T28" fmla="*/ 394 w 564"/>
                <a:gd name="T29" fmla="*/ 169 h 676"/>
                <a:gd name="T30" fmla="*/ 394 w 564"/>
                <a:gd name="T31" fmla="*/ 120 h 676"/>
                <a:gd name="T32" fmla="*/ 478 w 564"/>
                <a:gd name="T33" fmla="*/ 590 h 676"/>
                <a:gd name="T34" fmla="*/ 84 w 564"/>
                <a:gd name="T35" fmla="*/ 590 h 676"/>
                <a:gd name="T36" fmla="*/ 84 w 564"/>
                <a:gd name="T37" fmla="*/ 337 h 676"/>
                <a:gd name="T38" fmla="*/ 84 w 564"/>
                <a:gd name="T39" fmla="*/ 211 h 676"/>
                <a:gd name="T40" fmla="*/ 84 w 564"/>
                <a:gd name="T41" fmla="*/ 101 h 676"/>
                <a:gd name="T42" fmla="*/ 84 w 564"/>
                <a:gd name="T43" fmla="*/ 84 h 676"/>
                <a:gd name="T44" fmla="*/ 93 w 564"/>
                <a:gd name="T45" fmla="*/ 84 h 676"/>
                <a:gd name="T46" fmla="*/ 170 w 564"/>
                <a:gd name="T47" fmla="*/ 84 h 676"/>
                <a:gd name="T48" fmla="*/ 234 w 564"/>
                <a:gd name="T49" fmla="*/ 84 h 676"/>
                <a:gd name="T50" fmla="*/ 337 w 564"/>
                <a:gd name="T51" fmla="*/ 84 h 676"/>
                <a:gd name="T52" fmla="*/ 337 w 564"/>
                <a:gd name="T53" fmla="*/ 225 h 676"/>
                <a:gd name="T54" fmla="*/ 478 w 564"/>
                <a:gd name="T55" fmla="*/ 225 h 676"/>
                <a:gd name="T56" fmla="*/ 478 w 564"/>
                <a:gd name="T57" fmla="*/ 59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4" h="676">
                  <a:moveTo>
                    <a:pt x="394" y="0"/>
                  </a:moveTo>
                  <a:lnTo>
                    <a:pt x="234" y="0"/>
                  </a:lnTo>
                  <a:lnTo>
                    <a:pt x="118" y="0"/>
                  </a:lnTo>
                  <a:lnTo>
                    <a:pt x="93" y="0"/>
                  </a:lnTo>
                  <a:lnTo>
                    <a:pt x="0" y="0"/>
                  </a:lnTo>
                  <a:lnTo>
                    <a:pt x="0" y="101"/>
                  </a:lnTo>
                  <a:lnTo>
                    <a:pt x="0" y="253"/>
                  </a:lnTo>
                  <a:lnTo>
                    <a:pt x="0" y="337"/>
                  </a:lnTo>
                  <a:lnTo>
                    <a:pt x="0" y="676"/>
                  </a:lnTo>
                  <a:lnTo>
                    <a:pt x="564" y="676"/>
                  </a:lnTo>
                  <a:lnTo>
                    <a:pt x="564" y="169"/>
                  </a:lnTo>
                  <a:lnTo>
                    <a:pt x="394" y="0"/>
                  </a:lnTo>
                  <a:close/>
                  <a:moveTo>
                    <a:pt x="394" y="120"/>
                  </a:moveTo>
                  <a:lnTo>
                    <a:pt x="444" y="169"/>
                  </a:lnTo>
                  <a:lnTo>
                    <a:pt x="394" y="169"/>
                  </a:lnTo>
                  <a:lnTo>
                    <a:pt x="394" y="120"/>
                  </a:lnTo>
                  <a:close/>
                  <a:moveTo>
                    <a:pt x="478" y="590"/>
                  </a:moveTo>
                  <a:lnTo>
                    <a:pt x="84" y="590"/>
                  </a:lnTo>
                  <a:lnTo>
                    <a:pt x="84" y="337"/>
                  </a:lnTo>
                  <a:lnTo>
                    <a:pt x="84" y="211"/>
                  </a:lnTo>
                  <a:lnTo>
                    <a:pt x="84" y="101"/>
                  </a:lnTo>
                  <a:lnTo>
                    <a:pt x="84" y="84"/>
                  </a:lnTo>
                  <a:lnTo>
                    <a:pt x="93" y="84"/>
                  </a:lnTo>
                  <a:lnTo>
                    <a:pt x="170" y="84"/>
                  </a:lnTo>
                  <a:lnTo>
                    <a:pt x="234" y="84"/>
                  </a:lnTo>
                  <a:lnTo>
                    <a:pt x="337" y="84"/>
                  </a:lnTo>
                  <a:lnTo>
                    <a:pt x="337" y="225"/>
                  </a:lnTo>
                  <a:lnTo>
                    <a:pt x="478" y="225"/>
                  </a:lnTo>
                  <a:lnTo>
                    <a:pt x="478" y="59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001731" y="1953987"/>
              <a:ext cx="759064" cy="765363"/>
              <a:chOff x="5424821" y="3876842"/>
              <a:chExt cx="759064" cy="765363"/>
            </a:xfrm>
            <a:solidFill>
              <a:srgbClr val="0065BD"/>
            </a:solidFill>
          </p:grpSpPr>
          <p:sp>
            <p:nvSpPr>
              <p:cNvPr id="33" name="Freeform 51"/>
              <p:cNvSpPr>
                <a:spLocks noEditPoints="1"/>
              </p:cNvSpPr>
              <p:nvPr/>
            </p:nvSpPr>
            <p:spPr bwMode="auto">
              <a:xfrm>
                <a:off x="5424821" y="3876842"/>
                <a:ext cx="759064" cy="765363"/>
              </a:xfrm>
              <a:custGeom>
                <a:avLst/>
                <a:gdLst>
                  <a:gd name="T0" fmla="*/ 523 w 723"/>
                  <a:gd name="T1" fmla="*/ 116 h 729"/>
                  <a:gd name="T2" fmla="*/ 531 w 723"/>
                  <a:gd name="T3" fmla="*/ 103 h 729"/>
                  <a:gd name="T4" fmla="*/ 531 w 723"/>
                  <a:gd name="T5" fmla="*/ 9 h 729"/>
                  <a:gd name="T6" fmla="*/ 518 w 723"/>
                  <a:gd name="T7" fmla="*/ 0 h 729"/>
                  <a:gd name="T8" fmla="*/ 510 w 723"/>
                  <a:gd name="T9" fmla="*/ 4 h 729"/>
                  <a:gd name="T10" fmla="*/ 506 w 723"/>
                  <a:gd name="T11" fmla="*/ 103 h 729"/>
                  <a:gd name="T12" fmla="*/ 510 w 723"/>
                  <a:gd name="T13" fmla="*/ 112 h 729"/>
                  <a:gd name="T14" fmla="*/ 518 w 723"/>
                  <a:gd name="T15" fmla="*/ 116 h 729"/>
                  <a:gd name="T16" fmla="*/ 514 w 723"/>
                  <a:gd name="T17" fmla="*/ 297 h 729"/>
                  <a:gd name="T18" fmla="*/ 506 w 723"/>
                  <a:gd name="T19" fmla="*/ 308 h 729"/>
                  <a:gd name="T20" fmla="*/ 506 w 723"/>
                  <a:gd name="T21" fmla="*/ 404 h 729"/>
                  <a:gd name="T22" fmla="*/ 518 w 723"/>
                  <a:gd name="T23" fmla="*/ 411 h 729"/>
                  <a:gd name="T24" fmla="*/ 527 w 723"/>
                  <a:gd name="T25" fmla="*/ 407 h 729"/>
                  <a:gd name="T26" fmla="*/ 531 w 723"/>
                  <a:gd name="T27" fmla="*/ 308 h 729"/>
                  <a:gd name="T28" fmla="*/ 527 w 723"/>
                  <a:gd name="T29" fmla="*/ 301 h 729"/>
                  <a:gd name="T30" fmla="*/ 518 w 723"/>
                  <a:gd name="T31" fmla="*/ 297 h 729"/>
                  <a:gd name="T32" fmla="*/ 621 w 723"/>
                  <a:gd name="T33" fmla="*/ 194 h 729"/>
                  <a:gd name="T34" fmla="*/ 609 w 723"/>
                  <a:gd name="T35" fmla="*/ 202 h 729"/>
                  <a:gd name="T36" fmla="*/ 609 w 723"/>
                  <a:gd name="T37" fmla="*/ 211 h 729"/>
                  <a:gd name="T38" fmla="*/ 621 w 723"/>
                  <a:gd name="T39" fmla="*/ 219 h 729"/>
                  <a:gd name="T40" fmla="*/ 716 w 723"/>
                  <a:gd name="T41" fmla="*/ 219 h 729"/>
                  <a:gd name="T42" fmla="*/ 723 w 723"/>
                  <a:gd name="T43" fmla="*/ 206 h 729"/>
                  <a:gd name="T44" fmla="*/ 720 w 723"/>
                  <a:gd name="T45" fmla="*/ 198 h 729"/>
                  <a:gd name="T46" fmla="*/ 712 w 723"/>
                  <a:gd name="T47" fmla="*/ 194 h 729"/>
                  <a:gd name="T48" fmla="*/ 415 w 723"/>
                  <a:gd name="T49" fmla="*/ 219 h 729"/>
                  <a:gd name="T50" fmla="*/ 428 w 723"/>
                  <a:gd name="T51" fmla="*/ 211 h 729"/>
                  <a:gd name="T52" fmla="*/ 428 w 723"/>
                  <a:gd name="T53" fmla="*/ 202 h 729"/>
                  <a:gd name="T54" fmla="*/ 415 w 723"/>
                  <a:gd name="T55" fmla="*/ 194 h 729"/>
                  <a:gd name="T56" fmla="*/ 322 w 723"/>
                  <a:gd name="T57" fmla="*/ 194 h 729"/>
                  <a:gd name="T58" fmla="*/ 312 w 723"/>
                  <a:gd name="T59" fmla="*/ 206 h 729"/>
                  <a:gd name="T60" fmla="*/ 316 w 723"/>
                  <a:gd name="T61" fmla="*/ 215 h 729"/>
                  <a:gd name="T62" fmla="*/ 325 w 723"/>
                  <a:gd name="T63" fmla="*/ 219 h 729"/>
                  <a:gd name="T64" fmla="*/ 600 w 723"/>
                  <a:gd name="T65" fmla="*/ 141 h 729"/>
                  <a:gd name="T66" fmla="*/ 668 w 723"/>
                  <a:gd name="T67" fmla="*/ 74 h 729"/>
                  <a:gd name="T68" fmla="*/ 672 w 723"/>
                  <a:gd name="T69" fmla="*/ 61 h 729"/>
                  <a:gd name="T70" fmla="*/ 664 w 723"/>
                  <a:gd name="T71" fmla="*/ 53 h 729"/>
                  <a:gd name="T72" fmla="*/ 651 w 723"/>
                  <a:gd name="T73" fmla="*/ 57 h 729"/>
                  <a:gd name="T74" fmla="*/ 584 w 723"/>
                  <a:gd name="T75" fmla="*/ 124 h 729"/>
                  <a:gd name="T76" fmla="*/ 586 w 723"/>
                  <a:gd name="T77" fmla="*/ 139 h 729"/>
                  <a:gd name="T78" fmla="*/ 596 w 723"/>
                  <a:gd name="T79" fmla="*/ 143 h 729"/>
                  <a:gd name="T80" fmla="*/ 605 w 723"/>
                  <a:gd name="T81" fmla="*/ 274 h 729"/>
                  <a:gd name="T82" fmla="*/ 590 w 723"/>
                  <a:gd name="T83" fmla="*/ 272 h 729"/>
                  <a:gd name="T84" fmla="*/ 584 w 723"/>
                  <a:gd name="T85" fmla="*/ 278 h 729"/>
                  <a:gd name="T86" fmla="*/ 586 w 723"/>
                  <a:gd name="T87" fmla="*/ 293 h 729"/>
                  <a:gd name="T88" fmla="*/ 655 w 723"/>
                  <a:gd name="T89" fmla="*/ 360 h 729"/>
                  <a:gd name="T90" fmla="*/ 664 w 723"/>
                  <a:gd name="T91" fmla="*/ 360 h 729"/>
                  <a:gd name="T92" fmla="*/ 672 w 723"/>
                  <a:gd name="T93" fmla="*/ 352 h 729"/>
                  <a:gd name="T94" fmla="*/ 668 w 723"/>
                  <a:gd name="T95" fmla="*/ 339 h 729"/>
                  <a:gd name="T96" fmla="*/ 432 w 723"/>
                  <a:gd name="T97" fmla="*/ 139 h 729"/>
                  <a:gd name="T98" fmla="*/ 442 w 723"/>
                  <a:gd name="T99" fmla="*/ 143 h 729"/>
                  <a:gd name="T100" fmla="*/ 451 w 723"/>
                  <a:gd name="T101" fmla="*/ 139 h 729"/>
                  <a:gd name="T102" fmla="*/ 453 w 723"/>
                  <a:gd name="T103" fmla="*/ 124 h 729"/>
                  <a:gd name="T104" fmla="*/ 386 w 723"/>
                  <a:gd name="T105" fmla="*/ 57 h 729"/>
                  <a:gd name="T106" fmla="*/ 373 w 723"/>
                  <a:gd name="T107" fmla="*/ 53 h 729"/>
                  <a:gd name="T108" fmla="*/ 365 w 723"/>
                  <a:gd name="T109" fmla="*/ 61 h 729"/>
                  <a:gd name="T110" fmla="*/ 369 w 723"/>
                  <a:gd name="T111" fmla="*/ 74 h 729"/>
                  <a:gd name="T112" fmla="*/ 405 w 723"/>
                  <a:gd name="T113" fmla="*/ 268 h 729"/>
                  <a:gd name="T114" fmla="*/ 461 w 723"/>
                  <a:gd name="T115" fmla="*/ 322 h 729"/>
                  <a:gd name="T116" fmla="*/ 386 w 723"/>
                  <a:gd name="T117" fmla="*/ 286 h 729"/>
                  <a:gd name="T118" fmla="*/ 53 w 723"/>
                  <a:gd name="T119" fmla="*/ 72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3" h="729">
                    <a:moveTo>
                      <a:pt x="518" y="116"/>
                    </a:moveTo>
                    <a:lnTo>
                      <a:pt x="518" y="116"/>
                    </a:lnTo>
                    <a:lnTo>
                      <a:pt x="523" y="116"/>
                    </a:lnTo>
                    <a:lnTo>
                      <a:pt x="527" y="112"/>
                    </a:lnTo>
                    <a:lnTo>
                      <a:pt x="531" y="108"/>
                    </a:lnTo>
                    <a:lnTo>
                      <a:pt x="531" y="103"/>
                    </a:lnTo>
                    <a:lnTo>
                      <a:pt x="531" y="13"/>
                    </a:lnTo>
                    <a:lnTo>
                      <a:pt x="531" y="13"/>
                    </a:lnTo>
                    <a:lnTo>
                      <a:pt x="531" y="9"/>
                    </a:lnTo>
                    <a:lnTo>
                      <a:pt x="527" y="4"/>
                    </a:lnTo>
                    <a:lnTo>
                      <a:pt x="523" y="2"/>
                    </a:lnTo>
                    <a:lnTo>
                      <a:pt x="518" y="0"/>
                    </a:lnTo>
                    <a:lnTo>
                      <a:pt x="518" y="0"/>
                    </a:lnTo>
                    <a:lnTo>
                      <a:pt x="514" y="2"/>
                    </a:lnTo>
                    <a:lnTo>
                      <a:pt x="510" y="4"/>
                    </a:lnTo>
                    <a:lnTo>
                      <a:pt x="506" y="9"/>
                    </a:lnTo>
                    <a:lnTo>
                      <a:pt x="506" y="13"/>
                    </a:lnTo>
                    <a:lnTo>
                      <a:pt x="506" y="103"/>
                    </a:lnTo>
                    <a:lnTo>
                      <a:pt x="506" y="103"/>
                    </a:lnTo>
                    <a:lnTo>
                      <a:pt x="506" y="108"/>
                    </a:lnTo>
                    <a:lnTo>
                      <a:pt x="510" y="112"/>
                    </a:lnTo>
                    <a:lnTo>
                      <a:pt x="514" y="116"/>
                    </a:lnTo>
                    <a:lnTo>
                      <a:pt x="518" y="116"/>
                    </a:lnTo>
                    <a:lnTo>
                      <a:pt x="518" y="116"/>
                    </a:lnTo>
                    <a:close/>
                    <a:moveTo>
                      <a:pt x="518" y="297"/>
                    </a:moveTo>
                    <a:lnTo>
                      <a:pt x="518" y="297"/>
                    </a:lnTo>
                    <a:lnTo>
                      <a:pt x="514" y="297"/>
                    </a:lnTo>
                    <a:lnTo>
                      <a:pt x="510" y="301"/>
                    </a:lnTo>
                    <a:lnTo>
                      <a:pt x="506" y="305"/>
                    </a:lnTo>
                    <a:lnTo>
                      <a:pt x="506" y="308"/>
                    </a:lnTo>
                    <a:lnTo>
                      <a:pt x="506" y="400"/>
                    </a:lnTo>
                    <a:lnTo>
                      <a:pt x="506" y="400"/>
                    </a:lnTo>
                    <a:lnTo>
                      <a:pt x="506" y="404"/>
                    </a:lnTo>
                    <a:lnTo>
                      <a:pt x="510" y="407"/>
                    </a:lnTo>
                    <a:lnTo>
                      <a:pt x="514" y="411"/>
                    </a:lnTo>
                    <a:lnTo>
                      <a:pt x="518" y="411"/>
                    </a:lnTo>
                    <a:lnTo>
                      <a:pt x="518" y="411"/>
                    </a:lnTo>
                    <a:lnTo>
                      <a:pt x="523" y="411"/>
                    </a:lnTo>
                    <a:lnTo>
                      <a:pt x="527" y="407"/>
                    </a:lnTo>
                    <a:lnTo>
                      <a:pt x="531" y="404"/>
                    </a:lnTo>
                    <a:lnTo>
                      <a:pt x="531" y="400"/>
                    </a:lnTo>
                    <a:lnTo>
                      <a:pt x="531" y="308"/>
                    </a:lnTo>
                    <a:lnTo>
                      <a:pt x="531" y="308"/>
                    </a:lnTo>
                    <a:lnTo>
                      <a:pt x="531" y="305"/>
                    </a:lnTo>
                    <a:lnTo>
                      <a:pt x="527" y="301"/>
                    </a:lnTo>
                    <a:lnTo>
                      <a:pt x="523" y="297"/>
                    </a:lnTo>
                    <a:lnTo>
                      <a:pt x="518" y="297"/>
                    </a:lnTo>
                    <a:lnTo>
                      <a:pt x="518" y="297"/>
                    </a:lnTo>
                    <a:close/>
                    <a:moveTo>
                      <a:pt x="712" y="194"/>
                    </a:moveTo>
                    <a:lnTo>
                      <a:pt x="621" y="194"/>
                    </a:lnTo>
                    <a:lnTo>
                      <a:pt x="621" y="194"/>
                    </a:lnTo>
                    <a:lnTo>
                      <a:pt x="617" y="194"/>
                    </a:lnTo>
                    <a:lnTo>
                      <a:pt x="613" y="198"/>
                    </a:lnTo>
                    <a:lnTo>
                      <a:pt x="609" y="202"/>
                    </a:lnTo>
                    <a:lnTo>
                      <a:pt x="609" y="206"/>
                    </a:lnTo>
                    <a:lnTo>
                      <a:pt x="609" y="206"/>
                    </a:lnTo>
                    <a:lnTo>
                      <a:pt x="609" y="211"/>
                    </a:lnTo>
                    <a:lnTo>
                      <a:pt x="613" y="215"/>
                    </a:lnTo>
                    <a:lnTo>
                      <a:pt x="617" y="219"/>
                    </a:lnTo>
                    <a:lnTo>
                      <a:pt x="621" y="219"/>
                    </a:lnTo>
                    <a:lnTo>
                      <a:pt x="712" y="219"/>
                    </a:lnTo>
                    <a:lnTo>
                      <a:pt x="712" y="219"/>
                    </a:lnTo>
                    <a:lnTo>
                      <a:pt x="716" y="219"/>
                    </a:lnTo>
                    <a:lnTo>
                      <a:pt x="720" y="215"/>
                    </a:lnTo>
                    <a:lnTo>
                      <a:pt x="723" y="211"/>
                    </a:lnTo>
                    <a:lnTo>
                      <a:pt x="723" y="206"/>
                    </a:lnTo>
                    <a:lnTo>
                      <a:pt x="723" y="206"/>
                    </a:lnTo>
                    <a:lnTo>
                      <a:pt x="723" y="202"/>
                    </a:lnTo>
                    <a:lnTo>
                      <a:pt x="720" y="198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12" y="194"/>
                    </a:lnTo>
                    <a:close/>
                    <a:moveTo>
                      <a:pt x="325" y="219"/>
                    </a:moveTo>
                    <a:lnTo>
                      <a:pt x="415" y="219"/>
                    </a:lnTo>
                    <a:lnTo>
                      <a:pt x="415" y="219"/>
                    </a:lnTo>
                    <a:lnTo>
                      <a:pt x="421" y="219"/>
                    </a:lnTo>
                    <a:lnTo>
                      <a:pt x="424" y="215"/>
                    </a:lnTo>
                    <a:lnTo>
                      <a:pt x="428" y="211"/>
                    </a:lnTo>
                    <a:lnTo>
                      <a:pt x="428" y="206"/>
                    </a:lnTo>
                    <a:lnTo>
                      <a:pt x="428" y="206"/>
                    </a:lnTo>
                    <a:lnTo>
                      <a:pt x="428" y="202"/>
                    </a:lnTo>
                    <a:lnTo>
                      <a:pt x="424" y="198"/>
                    </a:lnTo>
                    <a:lnTo>
                      <a:pt x="421" y="194"/>
                    </a:lnTo>
                    <a:lnTo>
                      <a:pt x="415" y="194"/>
                    </a:lnTo>
                    <a:lnTo>
                      <a:pt x="325" y="194"/>
                    </a:lnTo>
                    <a:lnTo>
                      <a:pt x="325" y="194"/>
                    </a:lnTo>
                    <a:lnTo>
                      <a:pt x="322" y="194"/>
                    </a:lnTo>
                    <a:lnTo>
                      <a:pt x="316" y="198"/>
                    </a:lnTo>
                    <a:lnTo>
                      <a:pt x="314" y="202"/>
                    </a:lnTo>
                    <a:lnTo>
                      <a:pt x="312" y="206"/>
                    </a:lnTo>
                    <a:lnTo>
                      <a:pt x="312" y="206"/>
                    </a:lnTo>
                    <a:lnTo>
                      <a:pt x="314" y="211"/>
                    </a:lnTo>
                    <a:lnTo>
                      <a:pt x="316" y="215"/>
                    </a:lnTo>
                    <a:lnTo>
                      <a:pt x="322" y="219"/>
                    </a:lnTo>
                    <a:lnTo>
                      <a:pt x="325" y="219"/>
                    </a:lnTo>
                    <a:lnTo>
                      <a:pt x="325" y="219"/>
                    </a:lnTo>
                    <a:close/>
                    <a:moveTo>
                      <a:pt x="596" y="143"/>
                    </a:moveTo>
                    <a:lnTo>
                      <a:pt x="596" y="143"/>
                    </a:lnTo>
                    <a:lnTo>
                      <a:pt x="600" y="141"/>
                    </a:lnTo>
                    <a:lnTo>
                      <a:pt x="605" y="139"/>
                    </a:lnTo>
                    <a:lnTo>
                      <a:pt x="668" y="74"/>
                    </a:lnTo>
                    <a:lnTo>
                      <a:pt x="668" y="74"/>
                    </a:lnTo>
                    <a:lnTo>
                      <a:pt x="672" y="70"/>
                    </a:lnTo>
                    <a:lnTo>
                      <a:pt x="672" y="66"/>
                    </a:lnTo>
                    <a:lnTo>
                      <a:pt x="672" y="61"/>
                    </a:lnTo>
                    <a:lnTo>
                      <a:pt x="668" y="57"/>
                    </a:lnTo>
                    <a:lnTo>
                      <a:pt x="668" y="57"/>
                    </a:lnTo>
                    <a:lnTo>
                      <a:pt x="664" y="53"/>
                    </a:lnTo>
                    <a:lnTo>
                      <a:pt x="659" y="53"/>
                    </a:lnTo>
                    <a:lnTo>
                      <a:pt x="655" y="53"/>
                    </a:lnTo>
                    <a:lnTo>
                      <a:pt x="651" y="57"/>
                    </a:lnTo>
                    <a:lnTo>
                      <a:pt x="586" y="120"/>
                    </a:lnTo>
                    <a:lnTo>
                      <a:pt x="586" y="120"/>
                    </a:lnTo>
                    <a:lnTo>
                      <a:pt x="584" y="124"/>
                    </a:lnTo>
                    <a:lnTo>
                      <a:pt x="583" y="129"/>
                    </a:lnTo>
                    <a:lnTo>
                      <a:pt x="584" y="133"/>
                    </a:lnTo>
                    <a:lnTo>
                      <a:pt x="586" y="139"/>
                    </a:lnTo>
                    <a:lnTo>
                      <a:pt x="586" y="139"/>
                    </a:lnTo>
                    <a:lnTo>
                      <a:pt x="590" y="141"/>
                    </a:lnTo>
                    <a:lnTo>
                      <a:pt x="596" y="143"/>
                    </a:lnTo>
                    <a:lnTo>
                      <a:pt x="596" y="143"/>
                    </a:lnTo>
                    <a:close/>
                    <a:moveTo>
                      <a:pt x="605" y="274"/>
                    </a:moveTo>
                    <a:lnTo>
                      <a:pt x="605" y="274"/>
                    </a:lnTo>
                    <a:lnTo>
                      <a:pt x="600" y="272"/>
                    </a:lnTo>
                    <a:lnTo>
                      <a:pt x="596" y="270"/>
                    </a:lnTo>
                    <a:lnTo>
                      <a:pt x="590" y="272"/>
                    </a:lnTo>
                    <a:lnTo>
                      <a:pt x="586" y="274"/>
                    </a:lnTo>
                    <a:lnTo>
                      <a:pt x="586" y="274"/>
                    </a:lnTo>
                    <a:lnTo>
                      <a:pt x="584" y="278"/>
                    </a:lnTo>
                    <a:lnTo>
                      <a:pt x="583" y="284"/>
                    </a:lnTo>
                    <a:lnTo>
                      <a:pt x="584" y="287"/>
                    </a:lnTo>
                    <a:lnTo>
                      <a:pt x="586" y="293"/>
                    </a:lnTo>
                    <a:lnTo>
                      <a:pt x="651" y="356"/>
                    </a:lnTo>
                    <a:lnTo>
                      <a:pt x="651" y="356"/>
                    </a:lnTo>
                    <a:lnTo>
                      <a:pt x="655" y="360"/>
                    </a:lnTo>
                    <a:lnTo>
                      <a:pt x="659" y="360"/>
                    </a:lnTo>
                    <a:lnTo>
                      <a:pt x="659" y="360"/>
                    </a:lnTo>
                    <a:lnTo>
                      <a:pt x="664" y="360"/>
                    </a:lnTo>
                    <a:lnTo>
                      <a:pt x="668" y="356"/>
                    </a:lnTo>
                    <a:lnTo>
                      <a:pt x="668" y="356"/>
                    </a:lnTo>
                    <a:lnTo>
                      <a:pt x="672" y="352"/>
                    </a:lnTo>
                    <a:lnTo>
                      <a:pt x="672" y="346"/>
                    </a:lnTo>
                    <a:lnTo>
                      <a:pt x="672" y="343"/>
                    </a:lnTo>
                    <a:lnTo>
                      <a:pt x="668" y="339"/>
                    </a:lnTo>
                    <a:lnTo>
                      <a:pt x="605" y="274"/>
                    </a:lnTo>
                    <a:close/>
                    <a:moveTo>
                      <a:pt x="432" y="139"/>
                    </a:moveTo>
                    <a:lnTo>
                      <a:pt x="432" y="139"/>
                    </a:lnTo>
                    <a:lnTo>
                      <a:pt x="436" y="141"/>
                    </a:lnTo>
                    <a:lnTo>
                      <a:pt x="442" y="143"/>
                    </a:lnTo>
                    <a:lnTo>
                      <a:pt x="442" y="143"/>
                    </a:lnTo>
                    <a:lnTo>
                      <a:pt x="445" y="141"/>
                    </a:lnTo>
                    <a:lnTo>
                      <a:pt x="451" y="139"/>
                    </a:lnTo>
                    <a:lnTo>
                      <a:pt x="451" y="139"/>
                    </a:lnTo>
                    <a:lnTo>
                      <a:pt x="453" y="133"/>
                    </a:lnTo>
                    <a:lnTo>
                      <a:pt x="455" y="129"/>
                    </a:lnTo>
                    <a:lnTo>
                      <a:pt x="453" y="124"/>
                    </a:lnTo>
                    <a:lnTo>
                      <a:pt x="451" y="120"/>
                    </a:lnTo>
                    <a:lnTo>
                      <a:pt x="386" y="57"/>
                    </a:lnTo>
                    <a:lnTo>
                      <a:pt x="386" y="57"/>
                    </a:lnTo>
                    <a:lnTo>
                      <a:pt x="383" y="53"/>
                    </a:lnTo>
                    <a:lnTo>
                      <a:pt x="379" y="53"/>
                    </a:lnTo>
                    <a:lnTo>
                      <a:pt x="373" y="53"/>
                    </a:lnTo>
                    <a:lnTo>
                      <a:pt x="369" y="57"/>
                    </a:lnTo>
                    <a:lnTo>
                      <a:pt x="369" y="57"/>
                    </a:lnTo>
                    <a:lnTo>
                      <a:pt x="365" y="61"/>
                    </a:lnTo>
                    <a:lnTo>
                      <a:pt x="365" y="66"/>
                    </a:lnTo>
                    <a:lnTo>
                      <a:pt x="365" y="70"/>
                    </a:lnTo>
                    <a:lnTo>
                      <a:pt x="369" y="74"/>
                    </a:lnTo>
                    <a:lnTo>
                      <a:pt x="432" y="139"/>
                    </a:lnTo>
                    <a:close/>
                    <a:moveTo>
                      <a:pt x="461" y="322"/>
                    </a:moveTo>
                    <a:lnTo>
                      <a:pt x="405" y="268"/>
                    </a:lnTo>
                    <a:lnTo>
                      <a:pt x="518" y="156"/>
                    </a:lnTo>
                    <a:lnTo>
                      <a:pt x="573" y="209"/>
                    </a:lnTo>
                    <a:lnTo>
                      <a:pt x="461" y="322"/>
                    </a:lnTo>
                    <a:close/>
                    <a:moveTo>
                      <a:pt x="53" y="729"/>
                    </a:moveTo>
                    <a:lnTo>
                      <a:pt x="0" y="674"/>
                    </a:lnTo>
                    <a:lnTo>
                      <a:pt x="386" y="286"/>
                    </a:lnTo>
                    <a:lnTo>
                      <a:pt x="442" y="341"/>
                    </a:lnTo>
                    <a:lnTo>
                      <a:pt x="53" y="729"/>
                    </a:lnTo>
                    <a:close/>
                    <a:moveTo>
                      <a:pt x="53" y="729"/>
                    </a:moveTo>
                    <a:lnTo>
                      <a:pt x="53" y="7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4" name="Freeform 52"/>
              <p:cNvSpPr>
                <a:spLocks/>
              </p:cNvSpPr>
              <p:nvPr/>
            </p:nvSpPr>
            <p:spPr bwMode="auto">
              <a:xfrm>
                <a:off x="5956061" y="3876842"/>
                <a:ext cx="26247" cy="121786"/>
              </a:xfrm>
              <a:custGeom>
                <a:avLst/>
                <a:gdLst>
                  <a:gd name="T0" fmla="*/ 12 w 25"/>
                  <a:gd name="T1" fmla="*/ 116 h 116"/>
                  <a:gd name="T2" fmla="*/ 12 w 25"/>
                  <a:gd name="T3" fmla="*/ 116 h 116"/>
                  <a:gd name="T4" fmla="*/ 17 w 25"/>
                  <a:gd name="T5" fmla="*/ 116 h 116"/>
                  <a:gd name="T6" fmla="*/ 21 w 25"/>
                  <a:gd name="T7" fmla="*/ 112 h 116"/>
                  <a:gd name="T8" fmla="*/ 25 w 25"/>
                  <a:gd name="T9" fmla="*/ 108 h 116"/>
                  <a:gd name="T10" fmla="*/ 25 w 25"/>
                  <a:gd name="T11" fmla="*/ 103 h 116"/>
                  <a:gd name="T12" fmla="*/ 25 w 25"/>
                  <a:gd name="T13" fmla="*/ 13 h 116"/>
                  <a:gd name="T14" fmla="*/ 25 w 25"/>
                  <a:gd name="T15" fmla="*/ 13 h 116"/>
                  <a:gd name="T16" fmla="*/ 25 w 25"/>
                  <a:gd name="T17" fmla="*/ 9 h 116"/>
                  <a:gd name="T18" fmla="*/ 21 w 25"/>
                  <a:gd name="T19" fmla="*/ 4 h 116"/>
                  <a:gd name="T20" fmla="*/ 17 w 25"/>
                  <a:gd name="T21" fmla="*/ 2 h 116"/>
                  <a:gd name="T22" fmla="*/ 12 w 25"/>
                  <a:gd name="T23" fmla="*/ 0 h 116"/>
                  <a:gd name="T24" fmla="*/ 12 w 25"/>
                  <a:gd name="T25" fmla="*/ 0 h 116"/>
                  <a:gd name="T26" fmla="*/ 8 w 25"/>
                  <a:gd name="T27" fmla="*/ 2 h 116"/>
                  <a:gd name="T28" fmla="*/ 4 w 25"/>
                  <a:gd name="T29" fmla="*/ 4 h 116"/>
                  <a:gd name="T30" fmla="*/ 0 w 25"/>
                  <a:gd name="T31" fmla="*/ 9 h 116"/>
                  <a:gd name="T32" fmla="*/ 0 w 25"/>
                  <a:gd name="T33" fmla="*/ 13 h 116"/>
                  <a:gd name="T34" fmla="*/ 0 w 25"/>
                  <a:gd name="T35" fmla="*/ 103 h 116"/>
                  <a:gd name="T36" fmla="*/ 0 w 25"/>
                  <a:gd name="T37" fmla="*/ 103 h 116"/>
                  <a:gd name="T38" fmla="*/ 0 w 25"/>
                  <a:gd name="T39" fmla="*/ 108 h 116"/>
                  <a:gd name="T40" fmla="*/ 4 w 25"/>
                  <a:gd name="T41" fmla="*/ 112 h 116"/>
                  <a:gd name="T42" fmla="*/ 8 w 25"/>
                  <a:gd name="T43" fmla="*/ 116 h 116"/>
                  <a:gd name="T44" fmla="*/ 12 w 25"/>
                  <a:gd name="T45" fmla="*/ 116 h 116"/>
                  <a:gd name="T46" fmla="*/ 12 w 25"/>
                  <a:gd name="T4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116">
                    <a:moveTo>
                      <a:pt x="12" y="116"/>
                    </a:moveTo>
                    <a:lnTo>
                      <a:pt x="12" y="116"/>
                    </a:lnTo>
                    <a:lnTo>
                      <a:pt x="17" y="116"/>
                    </a:lnTo>
                    <a:lnTo>
                      <a:pt x="21" y="112"/>
                    </a:lnTo>
                    <a:lnTo>
                      <a:pt x="25" y="108"/>
                    </a:lnTo>
                    <a:lnTo>
                      <a:pt x="25" y="103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9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0" y="108"/>
                    </a:lnTo>
                    <a:lnTo>
                      <a:pt x="4" y="112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5" name="Freeform 53"/>
              <p:cNvSpPr>
                <a:spLocks/>
              </p:cNvSpPr>
              <p:nvPr/>
            </p:nvSpPr>
            <p:spPr bwMode="auto">
              <a:xfrm>
                <a:off x="5956061" y="4188656"/>
                <a:ext cx="26247" cy="119686"/>
              </a:xfrm>
              <a:custGeom>
                <a:avLst/>
                <a:gdLst>
                  <a:gd name="T0" fmla="*/ 12 w 25"/>
                  <a:gd name="T1" fmla="*/ 0 h 114"/>
                  <a:gd name="T2" fmla="*/ 12 w 25"/>
                  <a:gd name="T3" fmla="*/ 0 h 114"/>
                  <a:gd name="T4" fmla="*/ 8 w 25"/>
                  <a:gd name="T5" fmla="*/ 0 h 114"/>
                  <a:gd name="T6" fmla="*/ 4 w 25"/>
                  <a:gd name="T7" fmla="*/ 4 h 114"/>
                  <a:gd name="T8" fmla="*/ 0 w 25"/>
                  <a:gd name="T9" fmla="*/ 8 h 114"/>
                  <a:gd name="T10" fmla="*/ 0 w 25"/>
                  <a:gd name="T11" fmla="*/ 11 h 114"/>
                  <a:gd name="T12" fmla="*/ 0 w 25"/>
                  <a:gd name="T13" fmla="*/ 103 h 114"/>
                  <a:gd name="T14" fmla="*/ 0 w 25"/>
                  <a:gd name="T15" fmla="*/ 103 h 114"/>
                  <a:gd name="T16" fmla="*/ 0 w 25"/>
                  <a:gd name="T17" fmla="*/ 107 h 114"/>
                  <a:gd name="T18" fmla="*/ 4 w 25"/>
                  <a:gd name="T19" fmla="*/ 110 h 114"/>
                  <a:gd name="T20" fmla="*/ 8 w 25"/>
                  <a:gd name="T21" fmla="*/ 114 h 114"/>
                  <a:gd name="T22" fmla="*/ 12 w 25"/>
                  <a:gd name="T23" fmla="*/ 114 h 114"/>
                  <a:gd name="T24" fmla="*/ 12 w 25"/>
                  <a:gd name="T25" fmla="*/ 114 h 114"/>
                  <a:gd name="T26" fmla="*/ 17 w 25"/>
                  <a:gd name="T27" fmla="*/ 114 h 114"/>
                  <a:gd name="T28" fmla="*/ 21 w 25"/>
                  <a:gd name="T29" fmla="*/ 110 h 114"/>
                  <a:gd name="T30" fmla="*/ 25 w 25"/>
                  <a:gd name="T31" fmla="*/ 107 h 114"/>
                  <a:gd name="T32" fmla="*/ 25 w 25"/>
                  <a:gd name="T33" fmla="*/ 103 h 114"/>
                  <a:gd name="T34" fmla="*/ 25 w 25"/>
                  <a:gd name="T35" fmla="*/ 11 h 114"/>
                  <a:gd name="T36" fmla="*/ 25 w 25"/>
                  <a:gd name="T37" fmla="*/ 11 h 114"/>
                  <a:gd name="T38" fmla="*/ 25 w 25"/>
                  <a:gd name="T39" fmla="*/ 8 h 114"/>
                  <a:gd name="T40" fmla="*/ 21 w 25"/>
                  <a:gd name="T41" fmla="*/ 4 h 114"/>
                  <a:gd name="T42" fmla="*/ 17 w 25"/>
                  <a:gd name="T43" fmla="*/ 0 h 114"/>
                  <a:gd name="T44" fmla="*/ 12 w 25"/>
                  <a:gd name="T45" fmla="*/ 0 h 114"/>
                  <a:gd name="T46" fmla="*/ 12 w 25"/>
                  <a:gd name="T47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11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0" y="107"/>
                    </a:lnTo>
                    <a:lnTo>
                      <a:pt x="4" y="110"/>
                    </a:lnTo>
                    <a:lnTo>
                      <a:pt x="8" y="114"/>
                    </a:lnTo>
                    <a:lnTo>
                      <a:pt x="12" y="114"/>
                    </a:lnTo>
                    <a:lnTo>
                      <a:pt x="12" y="114"/>
                    </a:lnTo>
                    <a:lnTo>
                      <a:pt x="17" y="114"/>
                    </a:lnTo>
                    <a:lnTo>
                      <a:pt x="21" y="110"/>
                    </a:lnTo>
                    <a:lnTo>
                      <a:pt x="25" y="107"/>
                    </a:lnTo>
                    <a:lnTo>
                      <a:pt x="25" y="103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1" y="4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12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6" name="Freeform 54"/>
              <p:cNvSpPr>
                <a:spLocks/>
              </p:cNvSpPr>
              <p:nvPr/>
            </p:nvSpPr>
            <p:spPr bwMode="auto">
              <a:xfrm>
                <a:off x="6064199" y="4080518"/>
                <a:ext cx="119686" cy="26247"/>
              </a:xfrm>
              <a:custGeom>
                <a:avLst/>
                <a:gdLst>
                  <a:gd name="T0" fmla="*/ 103 w 114"/>
                  <a:gd name="T1" fmla="*/ 0 h 25"/>
                  <a:gd name="T2" fmla="*/ 12 w 114"/>
                  <a:gd name="T3" fmla="*/ 0 h 25"/>
                  <a:gd name="T4" fmla="*/ 12 w 114"/>
                  <a:gd name="T5" fmla="*/ 0 h 25"/>
                  <a:gd name="T6" fmla="*/ 8 w 114"/>
                  <a:gd name="T7" fmla="*/ 0 h 25"/>
                  <a:gd name="T8" fmla="*/ 4 w 114"/>
                  <a:gd name="T9" fmla="*/ 4 h 25"/>
                  <a:gd name="T10" fmla="*/ 0 w 114"/>
                  <a:gd name="T11" fmla="*/ 8 h 25"/>
                  <a:gd name="T12" fmla="*/ 0 w 114"/>
                  <a:gd name="T13" fmla="*/ 12 h 25"/>
                  <a:gd name="T14" fmla="*/ 0 w 114"/>
                  <a:gd name="T15" fmla="*/ 12 h 25"/>
                  <a:gd name="T16" fmla="*/ 0 w 114"/>
                  <a:gd name="T17" fmla="*/ 17 h 25"/>
                  <a:gd name="T18" fmla="*/ 4 w 114"/>
                  <a:gd name="T19" fmla="*/ 21 h 25"/>
                  <a:gd name="T20" fmla="*/ 8 w 114"/>
                  <a:gd name="T21" fmla="*/ 25 h 25"/>
                  <a:gd name="T22" fmla="*/ 12 w 114"/>
                  <a:gd name="T23" fmla="*/ 25 h 25"/>
                  <a:gd name="T24" fmla="*/ 103 w 114"/>
                  <a:gd name="T25" fmla="*/ 25 h 25"/>
                  <a:gd name="T26" fmla="*/ 103 w 114"/>
                  <a:gd name="T27" fmla="*/ 25 h 25"/>
                  <a:gd name="T28" fmla="*/ 107 w 114"/>
                  <a:gd name="T29" fmla="*/ 25 h 25"/>
                  <a:gd name="T30" fmla="*/ 111 w 114"/>
                  <a:gd name="T31" fmla="*/ 21 h 25"/>
                  <a:gd name="T32" fmla="*/ 114 w 114"/>
                  <a:gd name="T33" fmla="*/ 17 h 25"/>
                  <a:gd name="T34" fmla="*/ 114 w 114"/>
                  <a:gd name="T35" fmla="*/ 12 h 25"/>
                  <a:gd name="T36" fmla="*/ 114 w 114"/>
                  <a:gd name="T37" fmla="*/ 12 h 25"/>
                  <a:gd name="T38" fmla="*/ 114 w 114"/>
                  <a:gd name="T39" fmla="*/ 8 h 25"/>
                  <a:gd name="T40" fmla="*/ 111 w 114"/>
                  <a:gd name="T41" fmla="*/ 4 h 25"/>
                  <a:gd name="T42" fmla="*/ 107 w 114"/>
                  <a:gd name="T43" fmla="*/ 0 h 25"/>
                  <a:gd name="T44" fmla="*/ 103 w 114"/>
                  <a:gd name="T45" fmla="*/ 0 h 25"/>
                  <a:gd name="T46" fmla="*/ 103 w 114"/>
                  <a:gd name="T4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4" h="25">
                    <a:moveTo>
                      <a:pt x="103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4" y="21"/>
                    </a:lnTo>
                    <a:lnTo>
                      <a:pt x="8" y="25"/>
                    </a:lnTo>
                    <a:lnTo>
                      <a:pt x="12" y="25"/>
                    </a:lnTo>
                    <a:lnTo>
                      <a:pt x="103" y="25"/>
                    </a:lnTo>
                    <a:lnTo>
                      <a:pt x="103" y="25"/>
                    </a:lnTo>
                    <a:lnTo>
                      <a:pt x="107" y="25"/>
                    </a:lnTo>
                    <a:lnTo>
                      <a:pt x="111" y="21"/>
                    </a:lnTo>
                    <a:lnTo>
                      <a:pt x="114" y="17"/>
                    </a:lnTo>
                    <a:lnTo>
                      <a:pt x="114" y="12"/>
                    </a:lnTo>
                    <a:lnTo>
                      <a:pt x="114" y="12"/>
                    </a:lnTo>
                    <a:lnTo>
                      <a:pt x="114" y="8"/>
                    </a:lnTo>
                    <a:lnTo>
                      <a:pt x="111" y="4"/>
                    </a:lnTo>
                    <a:lnTo>
                      <a:pt x="107" y="0"/>
                    </a:lnTo>
                    <a:lnTo>
                      <a:pt x="103" y="0"/>
                    </a:lnTo>
                    <a:lnTo>
                      <a:pt x="10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7" name="Freeform 55"/>
              <p:cNvSpPr>
                <a:spLocks/>
              </p:cNvSpPr>
              <p:nvPr/>
            </p:nvSpPr>
            <p:spPr bwMode="auto">
              <a:xfrm>
                <a:off x="5752384" y="4080518"/>
                <a:ext cx="121786" cy="26247"/>
              </a:xfrm>
              <a:custGeom>
                <a:avLst/>
                <a:gdLst>
                  <a:gd name="T0" fmla="*/ 13 w 116"/>
                  <a:gd name="T1" fmla="*/ 25 h 25"/>
                  <a:gd name="T2" fmla="*/ 103 w 116"/>
                  <a:gd name="T3" fmla="*/ 25 h 25"/>
                  <a:gd name="T4" fmla="*/ 103 w 116"/>
                  <a:gd name="T5" fmla="*/ 25 h 25"/>
                  <a:gd name="T6" fmla="*/ 109 w 116"/>
                  <a:gd name="T7" fmla="*/ 25 h 25"/>
                  <a:gd name="T8" fmla="*/ 112 w 116"/>
                  <a:gd name="T9" fmla="*/ 21 h 25"/>
                  <a:gd name="T10" fmla="*/ 116 w 116"/>
                  <a:gd name="T11" fmla="*/ 17 h 25"/>
                  <a:gd name="T12" fmla="*/ 116 w 116"/>
                  <a:gd name="T13" fmla="*/ 12 h 25"/>
                  <a:gd name="T14" fmla="*/ 116 w 116"/>
                  <a:gd name="T15" fmla="*/ 12 h 25"/>
                  <a:gd name="T16" fmla="*/ 116 w 116"/>
                  <a:gd name="T17" fmla="*/ 8 h 25"/>
                  <a:gd name="T18" fmla="*/ 112 w 116"/>
                  <a:gd name="T19" fmla="*/ 4 h 25"/>
                  <a:gd name="T20" fmla="*/ 109 w 116"/>
                  <a:gd name="T21" fmla="*/ 0 h 25"/>
                  <a:gd name="T22" fmla="*/ 103 w 116"/>
                  <a:gd name="T23" fmla="*/ 0 h 25"/>
                  <a:gd name="T24" fmla="*/ 13 w 116"/>
                  <a:gd name="T25" fmla="*/ 0 h 25"/>
                  <a:gd name="T26" fmla="*/ 13 w 116"/>
                  <a:gd name="T27" fmla="*/ 0 h 25"/>
                  <a:gd name="T28" fmla="*/ 10 w 116"/>
                  <a:gd name="T29" fmla="*/ 0 h 25"/>
                  <a:gd name="T30" fmla="*/ 4 w 116"/>
                  <a:gd name="T31" fmla="*/ 4 h 25"/>
                  <a:gd name="T32" fmla="*/ 2 w 116"/>
                  <a:gd name="T33" fmla="*/ 8 h 25"/>
                  <a:gd name="T34" fmla="*/ 0 w 116"/>
                  <a:gd name="T35" fmla="*/ 12 h 25"/>
                  <a:gd name="T36" fmla="*/ 0 w 116"/>
                  <a:gd name="T37" fmla="*/ 12 h 25"/>
                  <a:gd name="T38" fmla="*/ 2 w 116"/>
                  <a:gd name="T39" fmla="*/ 17 h 25"/>
                  <a:gd name="T40" fmla="*/ 4 w 116"/>
                  <a:gd name="T41" fmla="*/ 21 h 25"/>
                  <a:gd name="T42" fmla="*/ 10 w 116"/>
                  <a:gd name="T43" fmla="*/ 25 h 25"/>
                  <a:gd name="T44" fmla="*/ 13 w 116"/>
                  <a:gd name="T45" fmla="*/ 25 h 25"/>
                  <a:gd name="T46" fmla="*/ 13 w 116"/>
                  <a:gd name="T4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6" h="25">
                    <a:moveTo>
                      <a:pt x="13" y="25"/>
                    </a:moveTo>
                    <a:lnTo>
                      <a:pt x="103" y="25"/>
                    </a:lnTo>
                    <a:lnTo>
                      <a:pt x="103" y="25"/>
                    </a:lnTo>
                    <a:lnTo>
                      <a:pt x="109" y="25"/>
                    </a:lnTo>
                    <a:lnTo>
                      <a:pt x="112" y="21"/>
                    </a:lnTo>
                    <a:lnTo>
                      <a:pt x="116" y="17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6" y="8"/>
                    </a:lnTo>
                    <a:lnTo>
                      <a:pt x="112" y="4"/>
                    </a:lnTo>
                    <a:lnTo>
                      <a:pt x="109" y="0"/>
                    </a:lnTo>
                    <a:lnTo>
                      <a:pt x="10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10" y="25"/>
                    </a:lnTo>
                    <a:lnTo>
                      <a:pt x="13" y="25"/>
                    </a:lnTo>
                    <a:lnTo>
                      <a:pt x="13" y="2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8" name="Freeform 56"/>
              <p:cNvSpPr>
                <a:spLocks/>
              </p:cNvSpPr>
              <p:nvPr/>
            </p:nvSpPr>
            <p:spPr bwMode="auto">
              <a:xfrm>
                <a:off x="6036902" y="3932485"/>
                <a:ext cx="93439" cy="94489"/>
              </a:xfrm>
              <a:custGeom>
                <a:avLst/>
                <a:gdLst>
                  <a:gd name="T0" fmla="*/ 13 w 89"/>
                  <a:gd name="T1" fmla="*/ 90 h 90"/>
                  <a:gd name="T2" fmla="*/ 13 w 89"/>
                  <a:gd name="T3" fmla="*/ 90 h 90"/>
                  <a:gd name="T4" fmla="*/ 17 w 89"/>
                  <a:gd name="T5" fmla="*/ 88 h 90"/>
                  <a:gd name="T6" fmla="*/ 22 w 89"/>
                  <a:gd name="T7" fmla="*/ 86 h 90"/>
                  <a:gd name="T8" fmla="*/ 85 w 89"/>
                  <a:gd name="T9" fmla="*/ 21 h 90"/>
                  <a:gd name="T10" fmla="*/ 85 w 89"/>
                  <a:gd name="T11" fmla="*/ 21 h 90"/>
                  <a:gd name="T12" fmla="*/ 89 w 89"/>
                  <a:gd name="T13" fmla="*/ 17 h 90"/>
                  <a:gd name="T14" fmla="*/ 89 w 89"/>
                  <a:gd name="T15" fmla="*/ 13 h 90"/>
                  <a:gd name="T16" fmla="*/ 89 w 89"/>
                  <a:gd name="T17" fmla="*/ 8 h 90"/>
                  <a:gd name="T18" fmla="*/ 85 w 89"/>
                  <a:gd name="T19" fmla="*/ 4 h 90"/>
                  <a:gd name="T20" fmla="*/ 85 w 89"/>
                  <a:gd name="T21" fmla="*/ 4 h 90"/>
                  <a:gd name="T22" fmla="*/ 81 w 89"/>
                  <a:gd name="T23" fmla="*/ 0 h 90"/>
                  <a:gd name="T24" fmla="*/ 76 w 89"/>
                  <a:gd name="T25" fmla="*/ 0 h 90"/>
                  <a:gd name="T26" fmla="*/ 72 w 89"/>
                  <a:gd name="T27" fmla="*/ 0 h 90"/>
                  <a:gd name="T28" fmla="*/ 68 w 89"/>
                  <a:gd name="T29" fmla="*/ 4 h 90"/>
                  <a:gd name="T30" fmla="*/ 3 w 89"/>
                  <a:gd name="T31" fmla="*/ 67 h 90"/>
                  <a:gd name="T32" fmla="*/ 3 w 89"/>
                  <a:gd name="T33" fmla="*/ 67 h 90"/>
                  <a:gd name="T34" fmla="*/ 1 w 89"/>
                  <a:gd name="T35" fmla="*/ 71 h 90"/>
                  <a:gd name="T36" fmla="*/ 0 w 89"/>
                  <a:gd name="T37" fmla="*/ 76 h 90"/>
                  <a:gd name="T38" fmla="*/ 1 w 89"/>
                  <a:gd name="T39" fmla="*/ 80 h 90"/>
                  <a:gd name="T40" fmla="*/ 3 w 89"/>
                  <a:gd name="T41" fmla="*/ 86 h 90"/>
                  <a:gd name="T42" fmla="*/ 3 w 89"/>
                  <a:gd name="T43" fmla="*/ 86 h 90"/>
                  <a:gd name="T44" fmla="*/ 7 w 89"/>
                  <a:gd name="T45" fmla="*/ 88 h 90"/>
                  <a:gd name="T46" fmla="*/ 13 w 89"/>
                  <a:gd name="T47" fmla="*/ 90 h 90"/>
                  <a:gd name="T48" fmla="*/ 13 w 89"/>
                  <a:gd name="T4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9" h="90">
                    <a:moveTo>
                      <a:pt x="13" y="90"/>
                    </a:moveTo>
                    <a:lnTo>
                      <a:pt x="13" y="90"/>
                    </a:lnTo>
                    <a:lnTo>
                      <a:pt x="17" y="88"/>
                    </a:lnTo>
                    <a:lnTo>
                      <a:pt x="22" y="86"/>
                    </a:lnTo>
                    <a:lnTo>
                      <a:pt x="85" y="21"/>
                    </a:lnTo>
                    <a:lnTo>
                      <a:pt x="85" y="21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89" y="8"/>
                    </a:lnTo>
                    <a:lnTo>
                      <a:pt x="85" y="4"/>
                    </a:lnTo>
                    <a:lnTo>
                      <a:pt x="85" y="4"/>
                    </a:lnTo>
                    <a:lnTo>
                      <a:pt x="81" y="0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8" y="4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1" y="71"/>
                    </a:lnTo>
                    <a:lnTo>
                      <a:pt x="0" y="76"/>
                    </a:lnTo>
                    <a:lnTo>
                      <a:pt x="1" y="80"/>
                    </a:lnTo>
                    <a:lnTo>
                      <a:pt x="3" y="86"/>
                    </a:lnTo>
                    <a:lnTo>
                      <a:pt x="3" y="86"/>
                    </a:lnTo>
                    <a:lnTo>
                      <a:pt x="7" y="88"/>
                    </a:lnTo>
                    <a:lnTo>
                      <a:pt x="13" y="90"/>
                    </a:lnTo>
                    <a:lnTo>
                      <a:pt x="13" y="9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9" name="Freeform 57"/>
              <p:cNvSpPr>
                <a:spLocks/>
              </p:cNvSpPr>
              <p:nvPr/>
            </p:nvSpPr>
            <p:spPr bwMode="auto">
              <a:xfrm>
                <a:off x="6036902" y="4160309"/>
                <a:ext cx="93439" cy="94489"/>
              </a:xfrm>
              <a:custGeom>
                <a:avLst/>
                <a:gdLst>
                  <a:gd name="T0" fmla="*/ 22 w 89"/>
                  <a:gd name="T1" fmla="*/ 4 h 90"/>
                  <a:gd name="T2" fmla="*/ 22 w 89"/>
                  <a:gd name="T3" fmla="*/ 4 h 90"/>
                  <a:gd name="T4" fmla="*/ 17 w 89"/>
                  <a:gd name="T5" fmla="*/ 2 h 90"/>
                  <a:gd name="T6" fmla="*/ 13 w 89"/>
                  <a:gd name="T7" fmla="*/ 0 h 90"/>
                  <a:gd name="T8" fmla="*/ 7 w 89"/>
                  <a:gd name="T9" fmla="*/ 2 h 90"/>
                  <a:gd name="T10" fmla="*/ 3 w 89"/>
                  <a:gd name="T11" fmla="*/ 4 h 90"/>
                  <a:gd name="T12" fmla="*/ 3 w 89"/>
                  <a:gd name="T13" fmla="*/ 4 h 90"/>
                  <a:gd name="T14" fmla="*/ 1 w 89"/>
                  <a:gd name="T15" fmla="*/ 8 h 90"/>
                  <a:gd name="T16" fmla="*/ 0 w 89"/>
                  <a:gd name="T17" fmla="*/ 14 h 90"/>
                  <a:gd name="T18" fmla="*/ 1 w 89"/>
                  <a:gd name="T19" fmla="*/ 17 h 90"/>
                  <a:gd name="T20" fmla="*/ 3 w 89"/>
                  <a:gd name="T21" fmla="*/ 23 h 90"/>
                  <a:gd name="T22" fmla="*/ 68 w 89"/>
                  <a:gd name="T23" fmla="*/ 86 h 90"/>
                  <a:gd name="T24" fmla="*/ 68 w 89"/>
                  <a:gd name="T25" fmla="*/ 86 h 90"/>
                  <a:gd name="T26" fmla="*/ 72 w 89"/>
                  <a:gd name="T27" fmla="*/ 90 h 90"/>
                  <a:gd name="T28" fmla="*/ 76 w 89"/>
                  <a:gd name="T29" fmla="*/ 90 h 90"/>
                  <a:gd name="T30" fmla="*/ 76 w 89"/>
                  <a:gd name="T31" fmla="*/ 90 h 90"/>
                  <a:gd name="T32" fmla="*/ 81 w 89"/>
                  <a:gd name="T33" fmla="*/ 90 h 90"/>
                  <a:gd name="T34" fmla="*/ 85 w 89"/>
                  <a:gd name="T35" fmla="*/ 86 h 90"/>
                  <a:gd name="T36" fmla="*/ 85 w 89"/>
                  <a:gd name="T37" fmla="*/ 86 h 90"/>
                  <a:gd name="T38" fmla="*/ 89 w 89"/>
                  <a:gd name="T39" fmla="*/ 82 h 90"/>
                  <a:gd name="T40" fmla="*/ 89 w 89"/>
                  <a:gd name="T41" fmla="*/ 76 h 90"/>
                  <a:gd name="T42" fmla="*/ 89 w 89"/>
                  <a:gd name="T43" fmla="*/ 73 h 90"/>
                  <a:gd name="T44" fmla="*/ 85 w 89"/>
                  <a:gd name="T45" fmla="*/ 69 h 90"/>
                  <a:gd name="T46" fmla="*/ 22 w 89"/>
                  <a:gd name="T47" fmla="*/ 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9" h="90">
                    <a:moveTo>
                      <a:pt x="22" y="4"/>
                    </a:moveTo>
                    <a:lnTo>
                      <a:pt x="22" y="4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3" y="23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72" y="90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81" y="90"/>
                    </a:lnTo>
                    <a:lnTo>
                      <a:pt x="85" y="86"/>
                    </a:lnTo>
                    <a:lnTo>
                      <a:pt x="85" y="86"/>
                    </a:lnTo>
                    <a:lnTo>
                      <a:pt x="89" y="82"/>
                    </a:lnTo>
                    <a:lnTo>
                      <a:pt x="89" y="76"/>
                    </a:lnTo>
                    <a:lnTo>
                      <a:pt x="89" y="73"/>
                    </a:lnTo>
                    <a:lnTo>
                      <a:pt x="85" y="69"/>
                    </a:lnTo>
                    <a:lnTo>
                      <a:pt x="22" y="4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0" name="Freeform 58"/>
              <p:cNvSpPr>
                <a:spLocks/>
              </p:cNvSpPr>
              <p:nvPr/>
            </p:nvSpPr>
            <p:spPr bwMode="auto">
              <a:xfrm>
                <a:off x="5808028" y="3932485"/>
                <a:ext cx="94489" cy="94489"/>
              </a:xfrm>
              <a:custGeom>
                <a:avLst/>
                <a:gdLst>
                  <a:gd name="T0" fmla="*/ 67 w 90"/>
                  <a:gd name="T1" fmla="*/ 86 h 90"/>
                  <a:gd name="T2" fmla="*/ 67 w 90"/>
                  <a:gd name="T3" fmla="*/ 86 h 90"/>
                  <a:gd name="T4" fmla="*/ 71 w 90"/>
                  <a:gd name="T5" fmla="*/ 88 h 90"/>
                  <a:gd name="T6" fmla="*/ 77 w 90"/>
                  <a:gd name="T7" fmla="*/ 90 h 90"/>
                  <a:gd name="T8" fmla="*/ 77 w 90"/>
                  <a:gd name="T9" fmla="*/ 90 h 90"/>
                  <a:gd name="T10" fmla="*/ 80 w 90"/>
                  <a:gd name="T11" fmla="*/ 88 h 90"/>
                  <a:gd name="T12" fmla="*/ 86 w 90"/>
                  <a:gd name="T13" fmla="*/ 86 h 90"/>
                  <a:gd name="T14" fmla="*/ 86 w 90"/>
                  <a:gd name="T15" fmla="*/ 86 h 90"/>
                  <a:gd name="T16" fmla="*/ 88 w 90"/>
                  <a:gd name="T17" fmla="*/ 80 h 90"/>
                  <a:gd name="T18" fmla="*/ 90 w 90"/>
                  <a:gd name="T19" fmla="*/ 76 h 90"/>
                  <a:gd name="T20" fmla="*/ 88 w 90"/>
                  <a:gd name="T21" fmla="*/ 71 h 90"/>
                  <a:gd name="T22" fmla="*/ 86 w 90"/>
                  <a:gd name="T23" fmla="*/ 67 h 90"/>
                  <a:gd name="T24" fmla="*/ 21 w 90"/>
                  <a:gd name="T25" fmla="*/ 4 h 90"/>
                  <a:gd name="T26" fmla="*/ 21 w 90"/>
                  <a:gd name="T27" fmla="*/ 4 h 90"/>
                  <a:gd name="T28" fmla="*/ 18 w 90"/>
                  <a:gd name="T29" fmla="*/ 0 h 90"/>
                  <a:gd name="T30" fmla="*/ 14 w 90"/>
                  <a:gd name="T31" fmla="*/ 0 h 90"/>
                  <a:gd name="T32" fmla="*/ 8 w 90"/>
                  <a:gd name="T33" fmla="*/ 0 h 90"/>
                  <a:gd name="T34" fmla="*/ 4 w 90"/>
                  <a:gd name="T35" fmla="*/ 4 h 90"/>
                  <a:gd name="T36" fmla="*/ 4 w 90"/>
                  <a:gd name="T37" fmla="*/ 4 h 90"/>
                  <a:gd name="T38" fmla="*/ 0 w 90"/>
                  <a:gd name="T39" fmla="*/ 8 h 90"/>
                  <a:gd name="T40" fmla="*/ 0 w 90"/>
                  <a:gd name="T41" fmla="*/ 13 h 90"/>
                  <a:gd name="T42" fmla="*/ 0 w 90"/>
                  <a:gd name="T43" fmla="*/ 17 h 90"/>
                  <a:gd name="T44" fmla="*/ 4 w 90"/>
                  <a:gd name="T45" fmla="*/ 21 h 90"/>
                  <a:gd name="T46" fmla="*/ 67 w 90"/>
                  <a:gd name="T47" fmla="*/ 8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0" h="90">
                    <a:moveTo>
                      <a:pt x="67" y="86"/>
                    </a:moveTo>
                    <a:lnTo>
                      <a:pt x="67" y="86"/>
                    </a:lnTo>
                    <a:lnTo>
                      <a:pt x="71" y="88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80" y="88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8" y="80"/>
                    </a:lnTo>
                    <a:lnTo>
                      <a:pt x="90" y="76"/>
                    </a:lnTo>
                    <a:lnTo>
                      <a:pt x="88" y="71"/>
                    </a:lnTo>
                    <a:lnTo>
                      <a:pt x="86" y="67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4" y="21"/>
                    </a:lnTo>
                    <a:lnTo>
                      <a:pt x="67" y="8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1" name="Freeform 59"/>
              <p:cNvSpPr>
                <a:spLocks/>
              </p:cNvSpPr>
              <p:nvPr/>
            </p:nvSpPr>
            <p:spPr bwMode="auto">
              <a:xfrm>
                <a:off x="5850023" y="4040623"/>
                <a:ext cx="176380" cy="174280"/>
              </a:xfrm>
              <a:custGeom>
                <a:avLst/>
                <a:gdLst>
                  <a:gd name="T0" fmla="*/ 56 w 168"/>
                  <a:gd name="T1" fmla="*/ 166 h 166"/>
                  <a:gd name="T2" fmla="*/ 0 w 168"/>
                  <a:gd name="T3" fmla="*/ 112 h 166"/>
                  <a:gd name="T4" fmla="*/ 113 w 168"/>
                  <a:gd name="T5" fmla="*/ 0 h 166"/>
                  <a:gd name="T6" fmla="*/ 168 w 168"/>
                  <a:gd name="T7" fmla="*/ 53 h 166"/>
                  <a:gd name="T8" fmla="*/ 56 w 168"/>
                  <a:gd name="T9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66">
                    <a:moveTo>
                      <a:pt x="56" y="166"/>
                    </a:moveTo>
                    <a:lnTo>
                      <a:pt x="0" y="112"/>
                    </a:lnTo>
                    <a:lnTo>
                      <a:pt x="113" y="0"/>
                    </a:lnTo>
                    <a:lnTo>
                      <a:pt x="168" y="53"/>
                    </a:lnTo>
                    <a:lnTo>
                      <a:pt x="56" y="16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2" name="Freeform 60"/>
              <p:cNvSpPr>
                <a:spLocks/>
              </p:cNvSpPr>
              <p:nvPr/>
            </p:nvSpPr>
            <p:spPr bwMode="auto">
              <a:xfrm>
                <a:off x="5424821" y="4177108"/>
                <a:ext cx="464048" cy="465097"/>
              </a:xfrm>
              <a:custGeom>
                <a:avLst/>
                <a:gdLst>
                  <a:gd name="T0" fmla="*/ 53 w 442"/>
                  <a:gd name="T1" fmla="*/ 443 h 443"/>
                  <a:gd name="T2" fmla="*/ 0 w 442"/>
                  <a:gd name="T3" fmla="*/ 388 h 443"/>
                  <a:gd name="T4" fmla="*/ 386 w 442"/>
                  <a:gd name="T5" fmla="*/ 0 h 443"/>
                  <a:gd name="T6" fmla="*/ 442 w 442"/>
                  <a:gd name="T7" fmla="*/ 55 h 443"/>
                  <a:gd name="T8" fmla="*/ 53 w 442"/>
                  <a:gd name="T9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2" h="443">
                    <a:moveTo>
                      <a:pt x="53" y="443"/>
                    </a:moveTo>
                    <a:lnTo>
                      <a:pt x="0" y="388"/>
                    </a:lnTo>
                    <a:lnTo>
                      <a:pt x="386" y="0"/>
                    </a:lnTo>
                    <a:lnTo>
                      <a:pt x="442" y="55"/>
                    </a:lnTo>
                    <a:lnTo>
                      <a:pt x="53" y="44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3" name="Line 61"/>
              <p:cNvSpPr>
                <a:spLocks noChangeShapeType="1"/>
              </p:cNvSpPr>
              <p:nvPr/>
            </p:nvSpPr>
            <p:spPr bwMode="auto">
              <a:xfrm>
                <a:off x="5480465" y="464220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</p:grpSp>
      </p:grpSp>
      <p:sp>
        <p:nvSpPr>
          <p:cNvPr id="44" name="Zástupný symbol pro text 3"/>
          <p:cNvSpPr txBox="1">
            <a:spLocks/>
          </p:cNvSpPr>
          <p:nvPr/>
        </p:nvSpPr>
        <p:spPr>
          <a:xfrm>
            <a:off x="1257299" y="3576081"/>
            <a:ext cx="3156157" cy="2757488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apírové dotazníky, které vyplňuje dobrovolník po úvodním rozhovoru</a:t>
            </a:r>
          </a:p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Nástěnka v </a:t>
            </a:r>
            <a:r>
              <a:rPr lang="cs-CZ" sz="1600" dirty="0" err="1">
                <a:latin typeface="Arial" panose="020B0604020202020204" pitchFamily="34" charset="0"/>
                <a:cs typeface="Arial" panose="020B0604020202020204" pitchFamily="34" charset="0"/>
              </a:rPr>
              <a:t>Trellu</a:t>
            </a:r>
            <a:endParaRPr 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 err="1">
                <a:latin typeface="Arial" panose="020B0604020202020204" pitchFamily="34" charset="0"/>
                <a:cs typeface="Arial" panose="020B0604020202020204" pitchFamily="34" charset="0"/>
              </a:rPr>
              <a:t>Excelová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čtvrtletní tabulka</a:t>
            </a:r>
          </a:p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ailing list dobrovolníků v </a:t>
            </a:r>
            <a:r>
              <a:rPr lang="cs-CZ" sz="1600" dirty="0" err="1">
                <a:latin typeface="Arial" panose="020B0604020202020204" pitchFamily="34" charset="0"/>
                <a:cs typeface="Arial" panose="020B0604020202020204" pitchFamily="34" charset="0"/>
              </a:rPr>
              <a:t>mailchimpu</a:t>
            </a:r>
            <a:endParaRPr 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685068" y="3726006"/>
            <a:ext cx="528826" cy="495946"/>
            <a:chOff x="5526660" y="2602286"/>
            <a:chExt cx="405254" cy="380057"/>
          </a:xfrm>
          <a:solidFill>
            <a:srgbClr val="0065BD"/>
          </a:solidFill>
        </p:grpSpPr>
        <p:sp>
          <p:nvSpPr>
            <p:cNvPr id="46" name="Freeform 117"/>
            <p:cNvSpPr>
              <a:spLocks noEditPoints="1"/>
            </p:cNvSpPr>
            <p:nvPr/>
          </p:nvSpPr>
          <p:spPr bwMode="auto">
            <a:xfrm>
              <a:off x="5582304" y="2688376"/>
              <a:ext cx="187929" cy="22048"/>
            </a:xfrm>
            <a:custGeom>
              <a:avLst/>
              <a:gdLst>
                <a:gd name="T0" fmla="*/ 10 w 179"/>
                <a:gd name="T1" fmla="*/ 21 h 21"/>
                <a:gd name="T2" fmla="*/ 168 w 179"/>
                <a:gd name="T3" fmla="*/ 21 h 21"/>
                <a:gd name="T4" fmla="*/ 168 w 179"/>
                <a:gd name="T5" fmla="*/ 21 h 21"/>
                <a:gd name="T6" fmla="*/ 172 w 179"/>
                <a:gd name="T7" fmla="*/ 21 h 21"/>
                <a:gd name="T8" fmla="*/ 175 w 179"/>
                <a:gd name="T9" fmla="*/ 19 h 21"/>
                <a:gd name="T10" fmla="*/ 177 w 179"/>
                <a:gd name="T11" fmla="*/ 16 h 21"/>
                <a:gd name="T12" fmla="*/ 179 w 179"/>
                <a:gd name="T13" fmla="*/ 12 h 21"/>
                <a:gd name="T14" fmla="*/ 179 w 179"/>
                <a:gd name="T15" fmla="*/ 12 h 21"/>
                <a:gd name="T16" fmla="*/ 177 w 179"/>
                <a:gd name="T17" fmla="*/ 6 h 21"/>
                <a:gd name="T18" fmla="*/ 175 w 179"/>
                <a:gd name="T19" fmla="*/ 2 h 21"/>
                <a:gd name="T20" fmla="*/ 172 w 179"/>
                <a:gd name="T21" fmla="*/ 0 h 21"/>
                <a:gd name="T22" fmla="*/ 168 w 179"/>
                <a:gd name="T23" fmla="*/ 0 h 21"/>
                <a:gd name="T24" fmla="*/ 10 w 179"/>
                <a:gd name="T25" fmla="*/ 0 h 21"/>
                <a:gd name="T26" fmla="*/ 10 w 179"/>
                <a:gd name="T27" fmla="*/ 0 h 21"/>
                <a:gd name="T28" fmla="*/ 6 w 179"/>
                <a:gd name="T29" fmla="*/ 0 h 21"/>
                <a:gd name="T30" fmla="*/ 2 w 179"/>
                <a:gd name="T31" fmla="*/ 2 h 21"/>
                <a:gd name="T32" fmla="*/ 0 w 179"/>
                <a:gd name="T33" fmla="*/ 6 h 21"/>
                <a:gd name="T34" fmla="*/ 0 w 179"/>
                <a:gd name="T35" fmla="*/ 12 h 21"/>
                <a:gd name="T36" fmla="*/ 0 w 179"/>
                <a:gd name="T37" fmla="*/ 12 h 21"/>
                <a:gd name="T38" fmla="*/ 0 w 179"/>
                <a:gd name="T39" fmla="*/ 16 h 21"/>
                <a:gd name="T40" fmla="*/ 2 w 179"/>
                <a:gd name="T41" fmla="*/ 19 h 21"/>
                <a:gd name="T42" fmla="*/ 6 w 179"/>
                <a:gd name="T43" fmla="*/ 21 h 21"/>
                <a:gd name="T44" fmla="*/ 10 w 179"/>
                <a:gd name="T45" fmla="*/ 21 h 21"/>
                <a:gd name="T46" fmla="*/ 10 w 179"/>
                <a:gd name="T47" fmla="*/ 21 h 21"/>
                <a:gd name="T48" fmla="*/ 10 w 179"/>
                <a:gd name="T49" fmla="*/ 21 h 21"/>
                <a:gd name="T50" fmla="*/ 10 w 179"/>
                <a:gd name="T5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9" h="21">
                  <a:moveTo>
                    <a:pt x="10" y="21"/>
                  </a:moveTo>
                  <a:lnTo>
                    <a:pt x="168" y="21"/>
                  </a:lnTo>
                  <a:lnTo>
                    <a:pt x="168" y="21"/>
                  </a:lnTo>
                  <a:lnTo>
                    <a:pt x="172" y="21"/>
                  </a:lnTo>
                  <a:lnTo>
                    <a:pt x="175" y="19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6"/>
                  </a:lnTo>
                  <a:lnTo>
                    <a:pt x="175" y="2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9"/>
                  </a:lnTo>
                  <a:lnTo>
                    <a:pt x="6" y="21"/>
                  </a:lnTo>
                  <a:lnTo>
                    <a:pt x="10" y="21"/>
                  </a:lnTo>
                  <a:lnTo>
                    <a:pt x="10" y="21"/>
                  </a:lnTo>
                  <a:close/>
                  <a:moveTo>
                    <a:pt x="10" y="21"/>
                  </a:moveTo>
                  <a:lnTo>
                    <a:pt x="1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7" name="Freeform 118"/>
            <p:cNvSpPr>
              <a:spLocks/>
            </p:cNvSpPr>
            <p:nvPr/>
          </p:nvSpPr>
          <p:spPr bwMode="auto">
            <a:xfrm>
              <a:off x="5582304" y="2688376"/>
              <a:ext cx="187929" cy="22048"/>
            </a:xfrm>
            <a:custGeom>
              <a:avLst/>
              <a:gdLst>
                <a:gd name="T0" fmla="*/ 10 w 179"/>
                <a:gd name="T1" fmla="*/ 21 h 21"/>
                <a:gd name="T2" fmla="*/ 168 w 179"/>
                <a:gd name="T3" fmla="*/ 21 h 21"/>
                <a:gd name="T4" fmla="*/ 168 w 179"/>
                <a:gd name="T5" fmla="*/ 21 h 21"/>
                <a:gd name="T6" fmla="*/ 172 w 179"/>
                <a:gd name="T7" fmla="*/ 21 h 21"/>
                <a:gd name="T8" fmla="*/ 175 w 179"/>
                <a:gd name="T9" fmla="*/ 19 h 21"/>
                <a:gd name="T10" fmla="*/ 177 w 179"/>
                <a:gd name="T11" fmla="*/ 16 h 21"/>
                <a:gd name="T12" fmla="*/ 179 w 179"/>
                <a:gd name="T13" fmla="*/ 12 h 21"/>
                <a:gd name="T14" fmla="*/ 179 w 179"/>
                <a:gd name="T15" fmla="*/ 12 h 21"/>
                <a:gd name="T16" fmla="*/ 177 w 179"/>
                <a:gd name="T17" fmla="*/ 6 h 21"/>
                <a:gd name="T18" fmla="*/ 175 w 179"/>
                <a:gd name="T19" fmla="*/ 2 h 21"/>
                <a:gd name="T20" fmla="*/ 172 w 179"/>
                <a:gd name="T21" fmla="*/ 0 h 21"/>
                <a:gd name="T22" fmla="*/ 168 w 179"/>
                <a:gd name="T23" fmla="*/ 0 h 21"/>
                <a:gd name="T24" fmla="*/ 10 w 179"/>
                <a:gd name="T25" fmla="*/ 0 h 21"/>
                <a:gd name="T26" fmla="*/ 10 w 179"/>
                <a:gd name="T27" fmla="*/ 0 h 21"/>
                <a:gd name="T28" fmla="*/ 6 w 179"/>
                <a:gd name="T29" fmla="*/ 0 h 21"/>
                <a:gd name="T30" fmla="*/ 2 w 179"/>
                <a:gd name="T31" fmla="*/ 2 h 21"/>
                <a:gd name="T32" fmla="*/ 0 w 179"/>
                <a:gd name="T33" fmla="*/ 6 h 21"/>
                <a:gd name="T34" fmla="*/ 0 w 179"/>
                <a:gd name="T35" fmla="*/ 12 h 21"/>
                <a:gd name="T36" fmla="*/ 0 w 179"/>
                <a:gd name="T37" fmla="*/ 12 h 21"/>
                <a:gd name="T38" fmla="*/ 0 w 179"/>
                <a:gd name="T39" fmla="*/ 16 h 21"/>
                <a:gd name="T40" fmla="*/ 2 w 179"/>
                <a:gd name="T41" fmla="*/ 19 h 21"/>
                <a:gd name="T42" fmla="*/ 6 w 179"/>
                <a:gd name="T43" fmla="*/ 21 h 21"/>
                <a:gd name="T44" fmla="*/ 10 w 179"/>
                <a:gd name="T45" fmla="*/ 21 h 21"/>
                <a:gd name="T46" fmla="*/ 10 w 179"/>
                <a:gd name="T4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9" h="21">
                  <a:moveTo>
                    <a:pt x="10" y="21"/>
                  </a:moveTo>
                  <a:lnTo>
                    <a:pt x="168" y="21"/>
                  </a:lnTo>
                  <a:lnTo>
                    <a:pt x="168" y="21"/>
                  </a:lnTo>
                  <a:lnTo>
                    <a:pt x="172" y="21"/>
                  </a:lnTo>
                  <a:lnTo>
                    <a:pt x="175" y="19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6"/>
                  </a:lnTo>
                  <a:lnTo>
                    <a:pt x="175" y="2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9"/>
                  </a:lnTo>
                  <a:lnTo>
                    <a:pt x="6" y="21"/>
                  </a:lnTo>
                  <a:lnTo>
                    <a:pt x="10" y="21"/>
                  </a:lnTo>
                  <a:lnTo>
                    <a:pt x="10" y="2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8" name="Line 119"/>
            <p:cNvSpPr>
              <a:spLocks noChangeShapeType="1"/>
            </p:cNvSpPr>
            <p:nvPr/>
          </p:nvSpPr>
          <p:spPr bwMode="auto">
            <a:xfrm>
              <a:off x="5592802" y="271042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9" name="Freeform 120"/>
            <p:cNvSpPr>
              <a:spLocks noEditPoints="1"/>
            </p:cNvSpPr>
            <p:nvPr/>
          </p:nvSpPr>
          <p:spPr bwMode="auto">
            <a:xfrm>
              <a:off x="5582304" y="2728271"/>
              <a:ext cx="187929" cy="24147"/>
            </a:xfrm>
            <a:custGeom>
              <a:avLst/>
              <a:gdLst>
                <a:gd name="T0" fmla="*/ 10 w 179"/>
                <a:gd name="T1" fmla="*/ 23 h 23"/>
                <a:gd name="T2" fmla="*/ 168 w 179"/>
                <a:gd name="T3" fmla="*/ 23 h 23"/>
                <a:gd name="T4" fmla="*/ 168 w 179"/>
                <a:gd name="T5" fmla="*/ 23 h 23"/>
                <a:gd name="T6" fmla="*/ 172 w 179"/>
                <a:gd name="T7" fmla="*/ 21 h 23"/>
                <a:gd name="T8" fmla="*/ 175 w 179"/>
                <a:gd name="T9" fmla="*/ 20 h 23"/>
                <a:gd name="T10" fmla="*/ 177 w 179"/>
                <a:gd name="T11" fmla="*/ 16 h 23"/>
                <a:gd name="T12" fmla="*/ 179 w 179"/>
                <a:gd name="T13" fmla="*/ 12 h 23"/>
                <a:gd name="T14" fmla="*/ 179 w 179"/>
                <a:gd name="T15" fmla="*/ 12 h 23"/>
                <a:gd name="T16" fmla="*/ 177 w 179"/>
                <a:gd name="T17" fmla="*/ 8 h 23"/>
                <a:gd name="T18" fmla="*/ 175 w 179"/>
                <a:gd name="T19" fmla="*/ 4 h 23"/>
                <a:gd name="T20" fmla="*/ 172 w 179"/>
                <a:gd name="T21" fmla="*/ 0 h 23"/>
                <a:gd name="T22" fmla="*/ 168 w 179"/>
                <a:gd name="T23" fmla="*/ 0 h 23"/>
                <a:gd name="T24" fmla="*/ 10 w 179"/>
                <a:gd name="T25" fmla="*/ 0 h 23"/>
                <a:gd name="T26" fmla="*/ 10 w 179"/>
                <a:gd name="T27" fmla="*/ 0 h 23"/>
                <a:gd name="T28" fmla="*/ 6 w 179"/>
                <a:gd name="T29" fmla="*/ 0 h 23"/>
                <a:gd name="T30" fmla="*/ 2 w 179"/>
                <a:gd name="T31" fmla="*/ 4 h 23"/>
                <a:gd name="T32" fmla="*/ 0 w 179"/>
                <a:gd name="T33" fmla="*/ 8 h 23"/>
                <a:gd name="T34" fmla="*/ 0 w 179"/>
                <a:gd name="T35" fmla="*/ 12 h 23"/>
                <a:gd name="T36" fmla="*/ 0 w 179"/>
                <a:gd name="T37" fmla="*/ 12 h 23"/>
                <a:gd name="T38" fmla="*/ 0 w 179"/>
                <a:gd name="T39" fmla="*/ 16 h 23"/>
                <a:gd name="T40" fmla="*/ 2 w 179"/>
                <a:gd name="T41" fmla="*/ 20 h 23"/>
                <a:gd name="T42" fmla="*/ 6 w 179"/>
                <a:gd name="T43" fmla="*/ 21 h 23"/>
                <a:gd name="T44" fmla="*/ 10 w 179"/>
                <a:gd name="T45" fmla="*/ 23 h 23"/>
                <a:gd name="T46" fmla="*/ 10 w 179"/>
                <a:gd name="T47" fmla="*/ 23 h 23"/>
                <a:gd name="T48" fmla="*/ 10 w 179"/>
                <a:gd name="T49" fmla="*/ 23 h 23"/>
                <a:gd name="T50" fmla="*/ 10 w 179"/>
                <a:gd name="T5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9" h="23">
                  <a:moveTo>
                    <a:pt x="10" y="23"/>
                  </a:moveTo>
                  <a:lnTo>
                    <a:pt x="168" y="23"/>
                  </a:lnTo>
                  <a:lnTo>
                    <a:pt x="168" y="23"/>
                  </a:lnTo>
                  <a:lnTo>
                    <a:pt x="172" y="21"/>
                  </a:lnTo>
                  <a:lnTo>
                    <a:pt x="175" y="20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8"/>
                  </a:lnTo>
                  <a:lnTo>
                    <a:pt x="175" y="4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6" y="21"/>
                  </a:lnTo>
                  <a:lnTo>
                    <a:pt x="10" y="23"/>
                  </a:lnTo>
                  <a:lnTo>
                    <a:pt x="10" y="23"/>
                  </a:lnTo>
                  <a:close/>
                  <a:moveTo>
                    <a:pt x="10" y="23"/>
                  </a:move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0" name="Freeform 121"/>
            <p:cNvSpPr>
              <a:spLocks/>
            </p:cNvSpPr>
            <p:nvPr/>
          </p:nvSpPr>
          <p:spPr bwMode="auto">
            <a:xfrm>
              <a:off x="5582304" y="2728271"/>
              <a:ext cx="187929" cy="24147"/>
            </a:xfrm>
            <a:custGeom>
              <a:avLst/>
              <a:gdLst>
                <a:gd name="T0" fmla="*/ 10 w 179"/>
                <a:gd name="T1" fmla="*/ 23 h 23"/>
                <a:gd name="T2" fmla="*/ 168 w 179"/>
                <a:gd name="T3" fmla="*/ 23 h 23"/>
                <a:gd name="T4" fmla="*/ 168 w 179"/>
                <a:gd name="T5" fmla="*/ 23 h 23"/>
                <a:gd name="T6" fmla="*/ 172 w 179"/>
                <a:gd name="T7" fmla="*/ 21 h 23"/>
                <a:gd name="T8" fmla="*/ 175 w 179"/>
                <a:gd name="T9" fmla="*/ 20 h 23"/>
                <a:gd name="T10" fmla="*/ 177 w 179"/>
                <a:gd name="T11" fmla="*/ 16 h 23"/>
                <a:gd name="T12" fmla="*/ 179 w 179"/>
                <a:gd name="T13" fmla="*/ 12 h 23"/>
                <a:gd name="T14" fmla="*/ 179 w 179"/>
                <a:gd name="T15" fmla="*/ 12 h 23"/>
                <a:gd name="T16" fmla="*/ 177 w 179"/>
                <a:gd name="T17" fmla="*/ 8 h 23"/>
                <a:gd name="T18" fmla="*/ 175 w 179"/>
                <a:gd name="T19" fmla="*/ 4 h 23"/>
                <a:gd name="T20" fmla="*/ 172 w 179"/>
                <a:gd name="T21" fmla="*/ 0 h 23"/>
                <a:gd name="T22" fmla="*/ 168 w 179"/>
                <a:gd name="T23" fmla="*/ 0 h 23"/>
                <a:gd name="T24" fmla="*/ 10 w 179"/>
                <a:gd name="T25" fmla="*/ 0 h 23"/>
                <a:gd name="T26" fmla="*/ 10 w 179"/>
                <a:gd name="T27" fmla="*/ 0 h 23"/>
                <a:gd name="T28" fmla="*/ 6 w 179"/>
                <a:gd name="T29" fmla="*/ 0 h 23"/>
                <a:gd name="T30" fmla="*/ 2 w 179"/>
                <a:gd name="T31" fmla="*/ 4 h 23"/>
                <a:gd name="T32" fmla="*/ 0 w 179"/>
                <a:gd name="T33" fmla="*/ 8 h 23"/>
                <a:gd name="T34" fmla="*/ 0 w 179"/>
                <a:gd name="T35" fmla="*/ 12 h 23"/>
                <a:gd name="T36" fmla="*/ 0 w 179"/>
                <a:gd name="T37" fmla="*/ 12 h 23"/>
                <a:gd name="T38" fmla="*/ 0 w 179"/>
                <a:gd name="T39" fmla="*/ 16 h 23"/>
                <a:gd name="T40" fmla="*/ 2 w 179"/>
                <a:gd name="T41" fmla="*/ 20 h 23"/>
                <a:gd name="T42" fmla="*/ 6 w 179"/>
                <a:gd name="T43" fmla="*/ 21 h 23"/>
                <a:gd name="T44" fmla="*/ 10 w 179"/>
                <a:gd name="T45" fmla="*/ 23 h 23"/>
                <a:gd name="T46" fmla="*/ 10 w 179"/>
                <a:gd name="T4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9" h="23">
                  <a:moveTo>
                    <a:pt x="10" y="23"/>
                  </a:moveTo>
                  <a:lnTo>
                    <a:pt x="168" y="23"/>
                  </a:lnTo>
                  <a:lnTo>
                    <a:pt x="168" y="23"/>
                  </a:lnTo>
                  <a:lnTo>
                    <a:pt x="172" y="21"/>
                  </a:lnTo>
                  <a:lnTo>
                    <a:pt x="175" y="20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8"/>
                  </a:lnTo>
                  <a:lnTo>
                    <a:pt x="175" y="4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6" y="21"/>
                  </a:lnTo>
                  <a:lnTo>
                    <a:pt x="10" y="23"/>
                  </a:lnTo>
                  <a:lnTo>
                    <a:pt x="10" y="2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1" name="Line 122"/>
            <p:cNvSpPr>
              <a:spLocks noChangeShapeType="1"/>
            </p:cNvSpPr>
            <p:nvPr/>
          </p:nvSpPr>
          <p:spPr bwMode="auto">
            <a:xfrm>
              <a:off x="5592802" y="275241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2" name="Freeform 123"/>
            <p:cNvSpPr>
              <a:spLocks noEditPoints="1"/>
            </p:cNvSpPr>
            <p:nvPr/>
          </p:nvSpPr>
          <p:spPr bwMode="auto">
            <a:xfrm>
              <a:off x="5582304" y="2891003"/>
              <a:ext cx="110238" cy="24147"/>
            </a:xfrm>
            <a:custGeom>
              <a:avLst/>
              <a:gdLst>
                <a:gd name="T0" fmla="*/ 93 w 105"/>
                <a:gd name="T1" fmla="*/ 0 h 23"/>
                <a:gd name="T2" fmla="*/ 10 w 105"/>
                <a:gd name="T3" fmla="*/ 0 h 23"/>
                <a:gd name="T4" fmla="*/ 10 w 105"/>
                <a:gd name="T5" fmla="*/ 0 h 23"/>
                <a:gd name="T6" fmla="*/ 6 w 105"/>
                <a:gd name="T7" fmla="*/ 2 h 23"/>
                <a:gd name="T8" fmla="*/ 2 w 105"/>
                <a:gd name="T9" fmla="*/ 4 h 23"/>
                <a:gd name="T10" fmla="*/ 0 w 105"/>
                <a:gd name="T11" fmla="*/ 7 h 23"/>
                <a:gd name="T12" fmla="*/ 0 w 105"/>
                <a:gd name="T13" fmla="*/ 11 h 23"/>
                <a:gd name="T14" fmla="*/ 0 w 105"/>
                <a:gd name="T15" fmla="*/ 11 h 23"/>
                <a:gd name="T16" fmla="*/ 0 w 105"/>
                <a:gd name="T17" fmla="*/ 17 h 23"/>
                <a:gd name="T18" fmla="*/ 2 w 105"/>
                <a:gd name="T19" fmla="*/ 19 h 23"/>
                <a:gd name="T20" fmla="*/ 6 w 105"/>
                <a:gd name="T21" fmla="*/ 23 h 23"/>
                <a:gd name="T22" fmla="*/ 10 w 105"/>
                <a:gd name="T23" fmla="*/ 23 h 23"/>
                <a:gd name="T24" fmla="*/ 93 w 105"/>
                <a:gd name="T25" fmla="*/ 23 h 23"/>
                <a:gd name="T26" fmla="*/ 93 w 105"/>
                <a:gd name="T27" fmla="*/ 23 h 23"/>
                <a:gd name="T28" fmla="*/ 97 w 105"/>
                <a:gd name="T29" fmla="*/ 23 h 23"/>
                <a:gd name="T30" fmla="*/ 101 w 105"/>
                <a:gd name="T31" fmla="*/ 19 h 23"/>
                <a:gd name="T32" fmla="*/ 105 w 105"/>
                <a:gd name="T33" fmla="*/ 17 h 23"/>
                <a:gd name="T34" fmla="*/ 105 w 105"/>
                <a:gd name="T35" fmla="*/ 11 h 23"/>
                <a:gd name="T36" fmla="*/ 105 w 105"/>
                <a:gd name="T37" fmla="*/ 11 h 23"/>
                <a:gd name="T38" fmla="*/ 105 w 105"/>
                <a:gd name="T39" fmla="*/ 7 h 23"/>
                <a:gd name="T40" fmla="*/ 101 w 105"/>
                <a:gd name="T41" fmla="*/ 4 h 23"/>
                <a:gd name="T42" fmla="*/ 97 w 105"/>
                <a:gd name="T43" fmla="*/ 2 h 23"/>
                <a:gd name="T44" fmla="*/ 93 w 105"/>
                <a:gd name="T45" fmla="*/ 0 h 23"/>
                <a:gd name="T46" fmla="*/ 93 w 105"/>
                <a:gd name="T47" fmla="*/ 0 h 23"/>
                <a:gd name="T48" fmla="*/ 93 w 105"/>
                <a:gd name="T49" fmla="*/ 0 h 23"/>
                <a:gd name="T50" fmla="*/ 93 w 105"/>
                <a:gd name="T5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23">
                  <a:moveTo>
                    <a:pt x="93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6" y="23"/>
                  </a:lnTo>
                  <a:lnTo>
                    <a:pt x="10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101" y="19"/>
                  </a:lnTo>
                  <a:lnTo>
                    <a:pt x="105" y="17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7"/>
                  </a:lnTo>
                  <a:lnTo>
                    <a:pt x="101" y="4"/>
                  </a:lnTo>
                  <a:lnTo>
                    <a:pt x="97" y="2"/>
                  </a:lnTo>
                  <a:lnTo>
                    <a:pt x="93" y="0"/>
                  </a:lnTo>
                  <a:lnTo>
                    <a:pt x="93" y="0"/>
                  </a:lnTo>
                  <a:close/>
                  <a:moveTo>
                    <a:pt x="93" y="0"/>
                  </a:move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3" name="Freeform 124"/>
            <p:cNvSpPr>
              <a:spLocks/>
            </p:cNvSpPr>
            <p:nvPr/>
          </p:nvSpPr>
          <p:spPr bwMode="auto">
            <a:xfrm>
              <a:off x="5582304" y="2891003"/>
              <a:ext cx="110238" cy="24147"/>
            </a:xfrm>
            <a:custGeom>
              <a:avLst/>
              <a:gdLst>
                <a:gd name="T0" fmla="*/ 93 w 105"/>
                <a:gd name="T1" fmla="*/ 0 h 23"/>
                <a:gd name="T2" fmla="*/ 10 w 105"/>
                <a:gd name="T3" fmla="*/ 0 h 23"/>
                <a:gd name="T4" fmla="*/ 10 w 105"/>
                <a:gd name="T5" fmla="*/ 0 h 23"/>
                <a:gd name="T6" fmla="*/ 6 w 105"/>
                <a:gd name="T7" fmla="*/ 2 h 23"/>
                <a:gd name="T8" fmla="*/ 2 w 105"/>
                <a:gd name="T9" fmla="*/ 4 h 23"/>
                <a:gd name="T10" fmla="*/ 0 w 105"/>
                <a:gd name="T11" fmla="*/ 7 h 23"/>
                <a:gd name="T12" fmla="*/ 0 w 105"/>
                <a:gd name="T13" fmla="*/ 11 h 23"/>
                <a:gd name="T14" fmla="*/ 0 w 105"/>
                <a:gd name="T15" fmla="*/ 11 h 23"/>
                <a:gd name="T16" fmla="*/ 0 w 105"/>
                <a:gd name="T17" fmla="*/ 17 h 23"/>
                <a:gd name="T18" fmla="*/ 2 w 105"/>
                <a:gd name="T19" fmla="*/ 19 h 23"/>
                <a:gd name="T20" fmla="*/ 6 w 105"/>
                <a:gd name="T21" fmla="*/ 23 h 23"/>
                <a:gd name="T22" fmla="*/ 10 w 105"/>
                <a:gd name="T23" fmla="*/ 23 h 23"/>
                <a:gd name="T24" fmla="*/ 93 w 105"/>
                <a:gd name="T25" fmla="*/ 23 h 23"/>
                <a:gd name="T26" fmla="*/ 93 w 105"/>
                <a:gd name="T27" fmla="*/ 23 h 23"/>
                <a:gd name="T28" fmla="*/ 97 w 105"/>
                <a:gd name="T29" fmla="*/ 23 h 23"/>
                <a:gd name="T30" fmla="*/ 101 w 105"/>
                <a:gd name="T31" fmla="*/ 19 h 23"/>
                <a:gd name="T32" fmla="*/ 105 w 105"/>
                <a:gd name="T33" fmla="*/ 17 h 23"/>
                <a:gd name="T34" fmla="*/ 105 w 105"/>
                <a:gd name="T35" fmla="*/ 11 h 23"/>
                <a:gd name="T36" fmla="*/ 105 w 105"/>
                <a:gd name="T37" fmla="*/ 11 h 23"/>
                <a:gd name="T38" fmla="*/ 105 w 105"/>
                <a:gd name="T39" fmla="*/ 7 h 23"/>
                <a:gd name="T40" fmla="*/ 101 w 105"/>
                <a:gd name="T41" fmla="*/ 4 h 23"/>
                <a:gd name="T42" fmla="*/ 97 w 105"/>
                <a:gd name="T43" fmla="*/ 2 h 23"/>
                <a:gd name="T44" fmla="*/ 93 w 105"/>
                <a:gd name="T45" fmla="*/ 0 h 23"/>
                <a:gd name="T46" fmla="*/ 93 w 105"/>
                <a:gd name="T4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5" h="23">
                  <a:moveTo>
                    <a:pt x="93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6" y="23"/>
                  </a:lnTo>
                  <a:lnTo>
                    <a:pt x="10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101" y="19"/>
                  </a:lnTo>
                  <a:lnTo>
                    <a:pt x="105" y="17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7"/>
                  </a:lnTo>
                  <a:lnTo>
                    <a:pt x="101" y="4"/>
                  </a:lnTo>
                  <a:lnTo>
                    <a:pt x="97" y="2"/>
                  </a:lnTo>
                  <a:lnTo>
                    <a:pt x="93" y="0"/>
                  </a:lnTo>
                  <a:lnTo>
                    <a:pt x="9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4" name="Line 125"/>
            <p:cNvSpPr>
              <a:spLocks noChangeShapeType="1"/>
            </p:cNvSpPr>
            <p:nvPr/>
          </p:nvSpPr>
          <p:spPr bwMode="auto">
            <a:xfrm>
              <a:off x="5679943" y="289100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5" name="Freeform 126"/>
            <p:cNvSpPr>
              <a:spLocks noEditPoints="1"/>
            </p:cNvSpPr>
            <p:nvPr/>
          </p:nvSpPr>
          <p:spPr bwMode="auto">
            <a:xfrm>
              <a:off x="5526660" y="2602286"/>
              <a:ext cx="405254" cy="380057"/>
            </a:xfrm>
            <a:custGeom>
              <a:avLst/>
              <a:gdLst>
                <a:gd name="T0" fmla="*/ 348 w 386"/>
                <a:gd name="T1" fmla="*/ 0 h 362"/>
                <a:gd name="T2" fmla="*/ 343 w 386"/>
                <a:gd name="T3" fmla="*/ 0 h 362"/>
                <a:gd name="T4" fmla="*/ 339 w 386"/>
                <a:gd name="T5" fmla="*/ 0 h 362"/>
                <a:gd name="T6" fmla="*/ 331 w 386"/>
                <a:gd name="T7" fmla="*/ 4 h 362"/>
                <a:gd name="T8" fmla="*/ 274 w 386"/>
                <a:gd name="T9" fmla="*/ 33 h 362"/>
                <a:gd name="T10" fmla="*/ 274 w 386"/>
                <a:gd name="T11" fmla="*/ 29 h 362"/>
                <a:gd name="T12" fmla="*/ 268 w 386"/>
                <a:gd name="T13" fmla="*/ 23 h 362"/>
                <a:gd name="T14" fmla="*/ 11 w 386"/>
                <a:gd name="T15" fmla="*/ 21 h 362"/>
                <a:gd name="T16" fmla="*/ 6 w 386"/>
                <a:gd name="T17" fmla="*/ 23 h 362"/>
                <a:gd name="T18" fmla="*/ 0 w 386"/>
                <a:gd name="T19" fmla="*/ 29 h 362"/>
                <a:gd name="T20" fmla="*/ 0 w 386"/>
                <a:gd name="T21" fmla="*/ 351 h 362"/>
                <a:gd name="T22" fmla="*/ 0 w 386"/>
                <a:gd name="T23" fmla="*/ 355 h 362"/>
                <a:gd name="T24" fmla="*/ 6 w 386"/>
                <a:gd name="T25" fmla="*/ 360 h 362"/>
                <a:gd name="T26" fmla="*/ 263 w 386"/>
                <a:gd name="T27" fmla="*/ 362 h 362"/>
                <a:gd name="T28" fmla="*/ 268 w 386"/>
                <a:gd name="T29" fmla="*/ 360 h 362"/>
                <a:gd name="T30" fmla="*/ 274 w 386"/>
                <a:gd name="T31" fmla="*/ 355 h 362"/>
                <a:gd name="T32" fmla="*/ 274 w 386"/>
                <a:gd name="T33" fmla="*/ 220 h 362"/>
                <a:gd name="T34" fmla="*/ 385 w 386"/>
                <a:gd name="T35" fmla="*/ 37 h 362"/>
                <a:gd name="T36" fmla="*/ 386 w 386"/>
                <a:gd name="T37" fmla="*/ 29 h 362"/>
                <a:gd name="T38" fmla="*/ 381 w 386"/>
                <a:gd name="T39" fmla="*/ 21 h 362"/>
                <a:gd name="T40" fmla="*/ 236 w 386"/>
                <a:gd name="T41" fmla="*/ 242 h 362"/>
                <a:gd name="T42" fmla="*/ 221 w 386"/>
                <a:gd name="T43" fmla="*/ 233 h 362"/>
                <a:gd name="T44" fmla="*/ 343 w 386"/>
                <a:gd name="T45" fmla="*/ 61 h 362"/>
                <a:gd name="T46" fmla="*/ 354 w 386"/>
                <a:gd name="T47" fmla="*/ 42 h 362"/>
                <a:gd name="T48" fmla="*/ 346 w 386"/>
                <a:gd name="T49" fmla="*/ 27 h 362"/>
                <a:gd name="T50" fmla="*/ 354 w 386"/>
                <a:gd name="T51" fmla="*/ 42 h 362"/>
                <a:gd name="T52" fmla="*/ 23 w 386"/>
                <a:gd name="T53" fmla="*/ 44 h 362"/>
                <a:gd name="T54" fmla="*/ 251 w 386"/>
                <a:gd name="T55" fmla="*/ 140 h 362"/>
                <a:gd name="T56" fmla="*/ 232 w 386"/>
                <a:gd name="T57" fmla="*/ 172 h 362"/>
                <a:gd name="T58" fmla="*/ 232 w 386"/>
                <a:gd name="T59" fmla="*/ 170 h 362"/>
                <a:gd name="T60" fmla="*/ 228 w 386"/>
                <a:gd name="T61" fmla="*/ 162 h 362"/>
                <a:gd name="T62" fmla="*/ 221 w 386"/>
                <a:gd name="T63" fmla="*/ 159 h 362"/>
                <a:gd name="T64" fmla="*/ 63 w 386"/>
                <a:gd name="T65" fmla="*/ 159 h 362"/>
                <a:gd name="T66" fmla="*/ 55 w 386"/>
                <a:gd name="T67" fmla="*/ 162 h 362"/>
                <a:gd name="T68" fmla="*/ 53 w 386"/>
                <a:gd name="T69" fmla="*/ 170 h 362"/>
                <a:gd name="T70" fmla="*/ 53 w 386"/>
                <a:gd name="T71" fmla="*/ 176 h 362"/>
                <a:gd name="T72" fmla="*/ 59 w 386"/>
                <a:gd name="T73" fmla="*/ 181 h 362"/>
                <a:gd name="T74" fmla="*/ 221 w 386"/>
                <a:gd name="T75" fmla="*/ 181 h 362"/>
                <a:gd name="T76" fmla="*/ 225 w 386"/>
                <a:gd name="T77" fmla="*/ 181 h 362"/>
                <a:gd name="T78" fmla="*/ 217 w 386"/>
                <a:gd name="T79" fmla="*/ 199 h 362"/>
                <a:gd name="T80" fmla="*/ 63 w 386"/>
                <a:gd name="T81" fmla="*/ 199 h 362"/>
                <a:gd name="T82" fmla="*/ 55 w 386"/>
                <a:gd name="T83" fmla="*/ 200 h 362"/>
                <a:gd name="T84" fmla="*/ 53 w 386"/>
                <a:gd name="T85" fmla="*/ 210 h 362"/>
                <a:gd name="T86" fmla="*/ 53 w 386"/>
                <a:gd name="T87" fmla="*/ 214 h 362"/>
                <a:gd name="T88" fmla="*/ 59 w 386"/>
                <a:gd name="T89" fmla="*/ 220 h 362"/>
                <a:gd name="T90" fmla="*/ 204 w 386"/>
                <a:gd name="T91" fmla="*/ 220 h 362"/>
                <a:gd name="T92" fmla="*/ 202 w 386"/>
                <a:gd name="T93" fmla="*/ 223 h 362"/>
                <a:gd name="T94" fmla="*/ 198 w 386"/>
                <a:gd name="T95" fmla="*/ 237 h 362"/>
                <a:gd name="T96" fmla="*/ 63 w 386"/>
                <a:gd name="T97" fmla="*/ 237 h 362"/>
                <a:gd name="T98" fmla="*/ 55 w 386"/>
                <a:gd name="T99" fmla="*/ 240 h 362"/>
                <a:gd name="T100" fmla="*/ 53 w 386"/>
                <a:gd name="T101" fmla="*/ 248 h 362"/>
                <a:gd name="T102" fmla="*/ 53 w 386"/>
                <a:gd name="T103" fmla="*/ 252 h 362"/>
                <a:gd name="T104" fmla="*/ 59 w 386"/>
                <a:gd name="T105" fmla="*/ 258 h 362"/>
                <a:gd name="T106" fmla="*/ 192 w 386"/>
                <a:gd name="T107" fmla="*/ 260 h 362"/>
                <a:gd name="T108" fmla="*/ 188 w 386"/>
                <a:gd name="T109" fmla="*/ 284 h 362"/>
                <a:gd name="T110" fmla="*/ 192 w 386"/>
                <a:gd name="T111" fmla="*/ 296 h 362"/>
                <a:gd name="T112" fmla="*/ 200 w 386"/>
                <a:gd name="T113" fmla="*/ 298 h 362"/>
                <a:gd name="T114" fmla="*/ 204 w 386"/>
                <a:gd name="T115" fmla="*/ 298 h 362"/>
                <a:gd name="T116" fmla="*/ 251 w 386"/>
                <a:gd name="T117" fmla="*/ 258 h 362"/>
                <a:gd name="T118" fmla="*/ 251 w 386"/>
                <a:gd name="T119" fmla="*/ 258 h 362"/>
                <a:gd name="T120" fmla="*/ 23 w 386"/>
                <a:gd name="T121" fmla="*/ 340 h 362"/>
                <a:gd name="T122" fmla="*/ 23 w 386"/>
                <a:gd name="T123" fmla="*/ 34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6" h="362">
                  <a:moveTo>
                    <a:pt x="381" y="21"/>
                  </a:moveTo>
                  <a:lnTo>
                    <a:pt x="348" y="0"/>
                  </a:lnTo>
                  <a:lnTo>
                    <a:pt x="348" y="0"/>
                  </a:lnTo>
                  <a:lnTo>
                    <a:pt x="343" y="0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35" y="2"/>
                  </a:lnTo>
                  <a:lnTo>
                    <a:pt x="331" y="4"/>
                  </a:lnTo>
                  <a:lnTo>
                    <a:pt x="274" y="101"/>
                  </a:lnTo>
                  <a:lnTo>
                    <a:pt x="274" y="33"/>
                  </a:lnTo>
                  <a:lnTo>
                    <a:pt x="274" y="33"/>
                  </a:lnTo>
                  <a:lnTo>
                    <a:pt x="274" y="29"/>
                  </a:lnTo>
                  <a:lnTo>
                    <a:pt x="270" y="25"/>
                  </a:lnTo>
                  <a:lnTo>
                    <a:pt x="268" y="23"/>
                  </a:lnTo>
                  <a:lnTo>
                    <a:pt x="263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6" y="23"/>
                  </a:lnTo>
                  <a:lnTo>
                    <a:pt x="4" y="25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5"/>
                  </a:lnTo>
                  <a:lnTo>
                    <a:pt x="4" y="359"/>
                  </a:lnTo>
                  <a:lnTo>
                    <a:pt x="6" y="360"/>
                  </a:lnTo>
                  <a:lnTo>
                    <a:pt x="11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8" y="360"/>
                  </a:lnTo>
                  <a:lnTo>
                    <a:pt x="270" y="359"/>
                  </a:lnTo>
                  <a:lnTo>
                    <a:pt x="274" y="355"/>
                  </a:lnTo>
                  <a:lnTo>
                    <a:pt x="274" y="351"/>
                  </a:lnTo>
                  <a:lnTo>
                    <a:pt x="274" y="220"/>
                  </a:lnTo>
                  <a:lnTo>
                    <a:pt x="385" y="37"/>
                  </a:lnTo>
                  <a:lnTo>
                    <a:pt x="385" y="37"/>
                  </a:lnTo>
                  <a:lnTo>
                    <a:pt x="386" y="33"/>
                  </a:lnTo>
                  <a:lnTo>
                    <a:pt x="386" y="29"/>
                  </a:lnTo>
                  <a:lnTo>
                    <a:pt x="385" y="23"/>
                  </a:lnTo>
                  <a:lnTo>
                    <a:pt x="381" y="21"/>
                  </a:lnTo>
                  <a:lnTo>
                    <a:pt x="381" y="21"/>
                  </a:lnTo>
                  <a:close/>
                  <a:moveTo>
                    <a:pt x="236" y="242"/>
                  </a:moveTo>
                  <a:lnTo>
                    <a:pt x="217" y="258"/>
                  </a:lnTo>
                  <a:lnTo>
                    <a:pt x="221" y="233"/>
                  </a:lnTo>
                  <a:lnTo>
                    <a:pt x="329" y="54"/>
                  </a:lnTo>
                  <a:lnTo>
                    <a:pt x="343" y="61"/>
                  </a:lnTo>
                  <a:lnTo>
                    <a:pt x="236" y="242"/>
                  </a:lnTo>
                  <a:close/>
                  <a:moveTo>
                    <a:pt x="354" y="42"/>
                  </a:moveTo>
                  <a:lnTo>
                    <a:pt x="341" y="35"/>
                  </a:lnTo>
                  <a:lnTo>
                    <a:pt x="346" y="27"/>
                  </a:lnTo>
                  <a:lnTo>
                    <a:pt x="360" y="35"/>
                  </a:lnTo>
                  <a:lnTo>
                    <a:pt x="354" y="42"/>
                  </a:lnTo>
                  <a:close/>
                  <a:moveTo>
                    <a:pt x="23" y="340"/>
                  </a:moveTo>
                  <a:lnTo>
                    <a:pt x="23" y="44"/>
                  </a:lnTo>
                  <a:lnTo>
                    <a:pt x="251" y="44"/>
                  </a:lnTo>
                  <a:lnTo>
                    <a:pt x="251" y="140"/>
                  </a:lnTo>
                  <a:lnTo>
                    <a:pt x="232" y="172"/>
                  </a:lnTo>
                  <a:lnTo>
                    <a:pt x="232" y="172"/>
                  </a:lnTo>
                  <a:lnTo>
                    <a:pt x="232" y="170"/>
                  </a:lnTo>
                  <a:lnTo>
                    <a:pt x="232" y="170"/>
                  </a:lnTo>
                  <a:lnTo>
                    <a:pt x="230" y="166"/>
                  </a:lnTo>
                  <a:lnTo>
                    <a:pt x="228" y="162"/>
                  </a:lnTo>
                  <a:lnTo>
                    <a:pt x="225" y="160"/>
                  </a:lnTo>
                  <a:lnTo>
                    <a:pt x="221" y="159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59" y="160"/>
                  </a:lnTo>
                  <a:lnTo>
                    <a:pt x="55" y="162"/>
                  </a:lnTo>
                  <a:lnTo>
                    <a:pt x="53" y="166"/>
                  </a:lnTo>
                  <a:lnTo>
                    <a:pt x="53" y="170"/>
                  </a:lnTo>
                  <a:lnTo>
                    <a:pt x="53" y="170"/>
                  </a:lnTo>
                  <a:lnTo>
                    <a:pt x="53" y="176"/>
                  </a:lnTo>
                  <a:lnTo>
                    <a:pt x="55" y="178"/>
                  </a:lnTo>
                  <a:lnTo>
                    <a:pt x="59" y="181"/>
                  </a:lnTo>
                  <a:lnTo>
                    <a:pt x="63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5" y="181"/>
                  </a:lnTo>
                  <a:lnTo>
                    <a:pt x="228" y="180"/>
                  </a:lnTo>
                  <a:lnTo>
                    <a:pt x="217" y="199"/>
                  </a:lnTo>
                  <a:lnTo>
                    <a:pt x="63" y="199"/>
                  </a:lnTo>
                  <a:lnTo>
                    <a:pt x="63" y="199"/>
                  </a:lnTo>
                  <a:lnTo>
                    <a:pt x="59" y="199"/>
                  </a:lnTo>
                  <a:lnTo>
                    <a:pt x="55" y="200"/>
                  </a:lnTo>
                  <a:lnTo>
                    <a:pt x="53" y="204"/>
                  </a:lnTo>
                  <a:lnTo>
                    <a:pt x="53" y="210"/>
                  </a:lnTo>
                  <a:lnTo>
                    <a:pt x="53" y="210"/>
                  </a:lnTo>
                  <a:lnTo>
                    <a:pt x="53" y="214"/>
                  </a:lnTo>
                  <a:lnTo>
                    <a:pt x="55" y="218"/>
                  </a:lnTo>
                  <a:lnTo>
                    <a:pt x="59" y="220"/>
                  </a:lnTo>
                  <a:lnTo>
                    <a:pt x="63" y="220"/>
                  </a:lnTo>
                  <a:lnTo>
                    <a:pt x="204" y="220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0" y="227"/>
                  </a:lnTo>
                  <a:lnTo>
                    <a:pt x="198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59" y="237"/>
                  </a:lnTo>
                  <a:lnTo>
                    <a:pt x="55" y="240"/>
                  </a:lnTo>
                  <a:lnTo>
                    <a:pt x="53" y="244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3" y="252"/>
                  </a:lnTo>
                  <a:lnTo>
                    <a:pt x="55" y="256"/>
                  </a:lnTo>
                  <a:lnTo>
                    <a:pt x="59" y="258"/>
                  </a:lnTo>
                  <a:lnTo>
                    <a:pt x="63" y="260"/>
                  </a:lnTo>
                  <a:lnTo>
                    <a:pt x="192" y="260"/>
                  </a:lnTo>
                  <a:lnTo>
                    <a:pt x="188" y="284"/>
                  </a:lnTo>
                  <a:lnTo>
                    <a:pt x="188" y="284"/>
                  </a:lnTo>
                  <a:lnTo>
                    <a:pt x="188" y="292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00" y="298"/>
                  </a:lnTo>
                  <a:lnTo>
                    <a:pt x="200" y="298"/>
                  </a:lnTo>
                  <a:lnTo>
                    <a:pt x="204" y="298"/>
                  </a:lnTo>
                  <a:lnTo>
                    <a:pt x="206" y="296"/>
                  </a:lnTo>
                  <a:lnTo>
                    <a:pt x="251" y="258"/>
                  </a:lnTo>
                  <a:lnTo>
                    <a:pt x="251" y="258"/>
                  </a:lnTo>
                  <a:lnTo>
                    <a:pt x="251" y="258"/>
                  </a:lnTo>
                  <a:lnTo>
                    <a:pt x="251" y="340"/>
                  </a:lnTo>
                  <a:lnTo>
                    <a:pt x="23" y="340"/>
                  </a:lnTo>
                  <a:close/>
                  <a:moveTo>
                    <a:pt x="23" y="340"/>
                  </a:moveTo>
                  <a:lnTo>
                    <a:pt x="23" y="3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6" name="Freeform 127"/>
            <p:cNvSpPr>
              <a:spLocks/>
            </p:cNvSpPr>
            <p:nvPr/>
          </p:nvSpPr>
          <p:spPr bwMode="auto">
            <a:xfrm>
              <a:off x="5526660" y="2602286"/>
              <a:ext cx="405254" cy="380057"/>
            </a:xfrm>
            <a:custGeom>
              <a:avLst/>
              <a:gdLst>
                <a:gd name="T0" fmla="*/ 381 w 386"/>
                <a:gd name="T1" fmla="*/ 21 h 362"/>
                <a:gd name="T2" fmla="*/ 348 w 386"/>
                <a:gd name="T3" fmla="*/ 0 h 362"/>
                <a:gd name="T4" fmla="*/ 348 w 386"/>
                <a:gd name="T5" fmla="*/ 0 h 362"/>
                <a:gd name="T6" fmla="*/ 343 w 386"/>
                <a:gd name="T7" fmla="*/ 0 h 362"/>
                <a:gd name="T8" fmla="*/ 339 w 386"/>
                <a:gd name="T9" fmla="*/ 0 h 362"/>
                <a:gd name="T10" fmla="*/ 339 w 386"/>
                <a:gd name="T11" fmla="*/ 0 h 362"/>
                <a:gd name="T12" fmla="*/ 335 w 386"/>
                <a:gd name="T13" fmla="*/ 2 h 362"/>
                <a:gd name="T14" fmla="*/ 331 w 386"/>
                <a:gd name="T15" fmla="*/ 4 h 362"/>
                <a:gd name="T16" fmla="*/ 274 w 386"/>
                <a:gd name="T17" fmla="*/ 101 h 362"/>
                <a:gd name="T18" fmla="*/ 274 w 386"/>
                <a:gd name="T19" fmla="*/ 33 h 362"/>
                <a:gd name="T20" fmla="*/ 274 w 386"/>
                <a:gd name="T21" fmla="*/ 33 h 362"/>
                <a:gd name="T22" fmla="*/ 274 w 386"/>
                <a:gd name="T23" fmla="*/ 29 h 362"/>
                <a:gd name="T24" fmla="*/ 270 w 386"/>
                <a:gd name="T25" fmla="*/ 25 h 362"/>
                <a:gd name="T26" fmla="*/ 268 w 386"/>
                <a:gd name="T27" fmla="*/ 23 h 362"/>
                <a:gd name="T28" fmla="*/ 263 w 386"/>
                <a:gd name="T29" fmla="*/ 21 h 362"/>
                <a:gd name="T30" fmla="*/ 11 w 386"/>
                <a:gd name="T31" fmla="*/ 21 h 362"/>
                <a:gd name="T32" fmla="*/ 11 w 386"/>
                <a:gd name="T33" fmla="*/ 21 h 362"/>
                <a:gd name="T34" fmla="*/ 6 w 386"/>
                <a:gd name="T35" fmla="*/ 23 h 362"/>
                <a:gd name="T36" fmla="*/ 4 w 386"/>
                <a:gd name="T37" fmla="*/ 25 h 362"/>
                <a:gd name="T38" fmla="*/ 0 w 386"/>
                <a:gd name="T39" fmla="*/ 29 h 362"/>
                <a:gd name="T40" fmla="*/ 0 w 386"/>
                <a:gd name="T41" fmla="*/ 33 h 362"/>
                <a:gd name="T42" fmla="*/ 0 w 386"/>
                <a:gd name="T43" fmla="*/ 351 h 362"/>
                <a:gd name="T44" fmla="*/ 0 w 386"/>
                <a:gd name="T45" fmla="*/ 351 h 362"/>
                <a:gd name="T46" fmla="*/ 0 w 386"/>
                <a:gd name="T47" fmla="*/ 355 h 362"/>
                <a:gd name="T48" fmla="*/ 4 w 386"/>
                <a:gd name="T49" fmla="*/ 359 h 362"/>
                <a:gd name="T50" fmla="*/ 6 w 386"/>
                <a:gd name="T51" fmla="*/ 360 h 362"/>
                <a:gd name="T52" fmla="*/ 11 w 386"/>
                <a:gd name="T53" fmla="*/ 362 h 362"/>
                <a:gd name="T54" fmla="*/ 263 w 386"/>
                <a:gd name="T55" fmla="*/ 362 h 362"/>
                <a:gd name="T56" fmla="*/ 263 w 386"/>
                <a:gd name="T57" fmla="*/ 362 h 362"/>
                <a:gd name="T58" fmla="*/ 268 w 386"/>
                <a:gd name="T59" fmla="*/ 360 h 362"/>
                <a:gd name="T60" fmla="*/ 270 w 386"/>
                <a:gd name="T61" fmla="*/ 359 h 362"/>
                <a:gd name="T62" fmla="*/ 274 w 386"/>
                <a:gd name="T63" fmla="*/ 355 h 362"/>
                <a:gd name="T64" fmla="*/ 274 w 386"/>
                <a:gd name="T65" fmla="*/ 351 h 362"/>
                <a:gd name="T66" fmla="*/ 274 w 386"/>
                <a:gd name="T67" fmla="*/ 220 h 362"/>
                <a:gd name="T68" fmla="*/ 385 w 386"/>
                <a:gd name="T69" fmla="*/ 37 h 362"/>
                <a:gd name="T70" fmla="*/ 385 w 386"/>
                <a:gd name="T71" fmla="*/ 37 h 362"/>
                <a:gd name="T72" fmla="*/ 386 w 386"/>
                <a:gd name="T73" fmla="*/ 33 h 362"/>
                <a:gd name="T74" fmla="*/ 386 w 386"/>
                <a:gd name="T75" fmla="*/ 29 h 362"/>
                <a:gd name="T76" fmla="*/ 385 w 386"/>
                <a:gd name="T77" fmla="*/ 23 h 362"/>
                <a:gd name="T78" fmla="*/ 381 w 386"/>
                <a:gd name="T79" fmla="*/ 21 h 362"/>
                <a:gd name="T80" fmla="*/ 381 w 386"/>
                <a:gd name="T81" fmla="*/ 2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86" h="362">
                  <a:moveTo>
                    <a:pt x="381" y="21"/>
                  </a:moveTo>
                  <a:lnTo>
                    <a:pt x="348" y="0"/>
                  </a:lnTo>
                  <a:lnTo>
                    <a:pt x="348" y="0"/>
                  </a:lnTo>
                  <a:lnTo>
                    <a:pt x="343" y="0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35" y="2"/>
                  </a:lnTo>
                  <a:lnTo>
                    <a:pt x="331" y="4"/>
                  </a:lnTo>
                  <a:lnTo>
                    <a:pt x="274" y="101"/>
                  </a:lnTo>
                  <a:lnTo>
                    <a:pt x="274" y="33"/>
                  </a:lnTo>
                  <a:lnTo>
                    <a:pt x="274" y="33"/>
                  </a:lnTo>
                  <a:lnTo>
                    <a:pt x="274" y="29"/>
                  </a:lnTo>
                  <a:lnTo>
                    <a:pt x="270" y="25"/>
                  </a:lnTo>
                  <a:lnTo>
                    <a:pt x="268" y="23"/>
                  </a:lnTo>
                  <a:lnTo>
                    <a:pt x="263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6" y="23"/>
                  </a:lnTo>
                  <a:lnTo>
                    <a:pt x="4" y="25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5"/>
                  </a:lnTo>
                  <a:lnTo>
                    <a:pt x="4" y="359"/>
                  </a:lnTo>
                  <a:lnTo>
                    <a:pt x="6" y="360"/>
                  </a:lnTo>
                  <a:lnTo>
                    <a:pt x="11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8" y="360"/>
                  </a:lnTo>
                  <a:lnTo>
                    <a:pt x="270" y="359"/>
                  </a:lnTo>
                  <a:lnTo>
                    <a:pt x="274" y="355"/>
                  </a:lnTo>
                  <a:lnTo>
                    <a:pt x="274" y="351"/>
                  </a:lnTo>
                  <a:lnTo>
                    <a:pt x="274" y="220"/>
                  </a:lnTo>
                  <a:lnTo>
                    <a:pt x="385" y="37"/>
                  </a:lnTo>
                  <a:lnTo>
                    <a:pt x="385" y="37"/>
                  </a:lnTo>
                  <a:lnTo>
                    <a:pt x="386" y="33"/>
                  </a:lnTo>
                  <a:lnTo>
                    <a:pt x="386" y="29"/>
                  </a:lnTo>
                  <a:lnTo>
                    <a:pt x="385" y="23"/>
                  </a:lnTo>
                  <a:lnTo>
                    <a:pt x="381" y="21"/>
                  </a:lnTo>
                  <a:lnTo>
                    <a:pt x="381" y="2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7" name="Freeform 128"/>
            <p:cNvSpPr>
              <a:spLocks/>
            </p:cNvSpPr>
            <p:nvPr/>
          </p:nvSpPr>
          <p:spPr bwMode="auto">
            <a:xfrm>
              <a:off x="5754484" y="2658979"/>
              <a:ext cx="132285" cy="214176"/>
            </a:xfrm>
            <a:custGeom>
              <a:avLst/>
              <a:gdLst>
                <a:gd name="T0" fmla="*/ 19 w 126"/>
                <a:gd name="T1" fmla="*/ 188 h 204"/>
                <a:gd name="T2" fmla="*/ 0 w 126"/>
                <a:gd name="T3" fmla="*/ 204 h 204"/>
                <a:gd name="T4" fmla="*/ 4 w 126"/>
                <a:gd name="T5" fmla="*/ 179 h 204"/>
                <a:gd name="T6" fmla="*/ 112 w 126"/>
                <a:gd name="T7" fmla="*/ 0 h 204"/>
                <a:gd name="T8" fmla="*/ 126 w 126"/>
                <a:gd name="T9" fmla="*/ 7 h 204"/>
                <a:gd name="T10" fmla="*/ 19 w 126"/>
                <a:gd name="T11" fmla="*/ 18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" h="204">
                  <a:moveTo>
                    <a:pt x="19" y="188"/>
                  </a:moveTo>
                  <a:lnTo>
                    <a:pt x="0" y="204"/>
                  </a:lnTo>
                  <a:lnTo>
                    <a:pt x="4" y="179"/>
                  </a:lnTo>
                  <a:lnTo>
                    <a:pt x="112" y="0"/>
                  </a:lnTo>
                  <a:lnTo>
                    <a:pt x="126" y="7"/>
                  </a:lnTo>
                  <a:lnTo>
                    <a:pt x="19" y="18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8" name="Freeform 129"/>
            <p:cNvSpPr>
              <a:spLocks/>
            </p:cNvSpPr>
            <p:nvPr/>
          </p:nvSpPr>
          <p:spPr bwMode="auto">
            <a:xfrm>
              <a:off x="5884669" y="2630632"/>
              <a:ext cx="19948" cy="15748"/>
            </a:xfrm>
            <a:custGeom>
              <a:avLst/>
              <a:gdLst>
                <a:gd name="T0" fmla="*/ 13 w 19"/>
                <a:gd name="T1" fmla="*/ 15 h 15"/>
                <a:gd name="T2" fmla="*/ 0 w 19"/>
                <a:gd name="T3" fmla="*/ 8 h 15"/>
                <a:gd name="T4" fmla="*/ 5 w 19"/>
                <a:gd name="T5" fmla="*/ 0 h 15"/>
                <a:gd name="T6" fmla="*/ 19 w 19"/>
                <a:gd name="T7" fmla="*/ 8 h 15"/>
                <a:gd name="T8" fmla="*/ 13 w 19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3" y="15"/>
                  </a:moveTo>
                  <a:lnTo>
                    <a:pt x="0" y="8"/>
                  </a:lnTo>
                  <a:lnTo>
                    <a:pt x="5" y="0"/>
                  </a:lnTo>
                  <a:lnTo>
                    <a:pt x="19" y="8"/>
                  </a:lnTo>
                  <a:lnTo>
                    <a:pt x="13" y="1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9" name="Freeform 130"/>
            <p:cNvSpPr>
              <a:spLocks/>
            </p:cNvSpPr>
            <p:nvPr/>
          </p:nvSpPr>
          <p:spPr bwMode="auto">
            <a:xfrm>
              <a:off x="5550807" y="2648480"/>
              <a:ext cx="239373" cy="310765"/>
            </a:xfrm>
            <a:custGeom>
              <a:avLst/>
              <a:gdLst>
                <a:gd name="T0" fmla="*/ 0 w 228"/>
                <a:gd name="T1" fmla="*/ 0 h 296"/>
                <a:gd name="T2" fmla="*/ 228 w 228"/>
                <a:gd name="T3" fmla="*/ 96 h 296"/>
                <a:gd name="T4" fmla="*/ 209 w 228"/>
                <a:gd name="T5" fmla="*/ 128 h 296"/>
                <a:gd name="T6" fmla="*/ 209 w 228"/>
                <a:gd name="T7" fmla="*/ 126 h 296"/>
                <a:gd name="T8" fmla="*/ 205 w 228"/>
                <a:gd name="T9" fmla="*/ 118 h 296"/>
                <a:gd name="T10" fmla="*/ 198 w 228"/>
                <a:gd name="T11" fmla="*/ 115 h 296"/>
                <a:gd name="T12" fmla="*/ 40 w 228"/>
                <a:gd name="T13" fmla="*/ 115 h 296"/>
                <a:gd name="T14" fmla="*/ 32 w 228"/>
                <a:gd name="T15" fmla="*/ 118 h 296"/>
                <a:gd name="T16" fmla="*/ 30 w 228"/>
                <a:gd name="T17" fmla="*/ 126 h 296"/>
                <a:gd name="T18" fmla="*/ 30 w 228"/>
                <a:gd name="T19" fmla="*/ 132 h 296"/>
                <a:gd name="T20" fmla="*/ 36 w 228"/>
                <a:gd name="T21" fmla="*/ 137 h 296"/>
                <a:gd name="T22" fmla="*/ 198 w 228"/>
                <a:gd name="T23" fmla="*/ 137 h 296"/>
                <a:gd name="T24" fmla="*/ 202 w 228"/>
                <a:gd name="T25" fmla="*/ 137 h 296"/>
                <a:gd name="T26" fmla="*/ 194 w 228"/>
                <a:gd name="T27" fmla="*/ 155 h 296"/>
                <a:gd name="T28" fmla="*/ 40 w 228"/>
                <a:gd name="T29" fmla="*/ 155 h 296"/>
                <a:gd name="T30" fmla="*/ 32 w 228"/>
                <a:gd name="T31" fmla="*/ 156 h 296"/>
                <a:gd name="T32" fmla="*/ 30 w 228"/>
                <a:gd name="T33" fmla="*/ 166 h 296"/>
                <a:gd name="T34" fmla="*/ 30 w 228"/>
                <a:gd name="T35" fmla="*/ 170 h 296"/>
                <a:gd name="T36" fmla="*/ 36 w 228"/>
                <a:gd name="T37" fmla="*/ 176 h 296"/>
                <a:gd name="T38" fmla="*/ 181 w 228"/>
                <a:gd name="T39" fmla="*/ 176 h 296"/>
                <a:gd name="T40" fmla="*/ 179 w 228"/>
                <a:gd name="T41" fmla="*/ 179 h 296"/>
                <a:gd name="T42" fmla="*/ 175 w 228"/>
                <a:gd name="T43" fmla="*/ 193 h 296"/>
                <a:gd name="T44" fmla="*/ 40 w 228"/>
                <a:gd name="T45" fmla="*/ 193 h 296"/>
                <a:gd name="T46" fmla="*/ 32 w 228"/>
                <a:gd name="T47" fmla="*/ 196 h 296"/>
                <a:gd name="T48" fmla="*/ 30 w 228"/>
                <a:gd name="T49" fmla="*/ 204 h 296"/>
                <a:gd name="T50" fmla="*/ 30 w 228"/>
                <a:gd name="T51" fmla="*/ 208 h 296"/>
                <a:gd name="T52" fmla="*/ 36 w 228"/>
                <a:gd name="T53" fmla="*/ 214 h 296"/>
                <a:gd name="T54" fmla="*/ 169 w 228"/>
                <a:gd name="T55" fmla="*/ 216 h 296"/>
                <a:gd name="T56" fmla="*/ 165 w 228"/>
                <a:gd name="T57" fmla="*/ 240 h 296"/>
                <a:gd name="T58" fmla="*/ 169 w 228"/>
                <a:gd name="T59" fmla="*/ 252 h 296"/>
                <a:gd name="T60" fmla="*/ 177 w 228"/>
                <a:gd name="T61" fmla="*/ 254 h 296"/>
                <a:gd name="T62" fmla="*/ 181 w 228"/>
                <a:gd name="T63" fmla="*/ 254 h 296"/>
                <a:gd name="T64" fmla="*/ 228 w 228"/>
                <a:gd name="T65" fmla="*/ 214 h 296"/>
                <a:gd name="T66" fmla="*/ 228 w 228"/>
                <a:gd name="T67" fmla="*/ 214 h 296"/>
                <a:gd name="T68" fmla="*/ 0 w 228"/>
                <a:gd name="T69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8" h="296">
                  <a:moveTo>
                    <a:pt x="0" y="296"/>
                  </a:moveTo>
                  <a:lnTo>
                    <a:pt x="0" y="0"/>
                  </a:lnTo>
                  <a:lnTo>
                    <a:pt x="228" y="0"/>
                  </a:lnTo>
                  <a:lnTo>
                    <a:pt x="228" y="96"/>
                  </a:lnTo>
                  <a:lnTo>
                    <a:pt x="209" y="128"/>
                  </a:lnTo>
                  <a:lnTo>
                    <a:pt x="209" y="128"/>
                  </a:lnTo>
                  <a:lnTo>
                    <a:pt x="209" y="126"/>
                  </a:lnTo>
                  <a:lnTo>
                    <a:pt x="209" y="126"/>
                  </a:lnTo>
                  <a:lnTo>
                    <a:pt x="207" y="122"/>
                  </a:lnTo>
                  <a:lnTo>
                    <a:pt x="205" y="118"/>
                  </a:lnTo>
                  <a:lnTo>
                    <a:pt x="202" y="116"/>
                  </a:lnTo>
                  <a:lnTo>
                    <a:pt x="198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36" y="116"/>
                  </a:lnTo>
                  <a:lnTo>
                    <a:pt x="32" y="118"/>
                  </a:lnTo>
                  <a:lnTo>
                    <a:pt x="30" y="122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32"/>
                  </a:lnTo>
                  <a:lnTo>
                    <a:pt x="32" y="134"/>
                  </a:lnTo>
                  <a:lnTo>
                    <a:pt x="36" y="137"/>
                  </a:lnTo>
                  <a:lnTo>
                    <a:pt x="40" y="137"/>
                  </a:lnTo>
                  <a:lnTo>
                    <a:pt x="198" y="137"/>
                  </a:lnTo>
                  <a:lnTo>
                    <a:pt x="198" y="137"/>
                  </a:lnTo>
                  <a:lnTo>
                    <a:pt x="202" y="137"/>
                  </a:lnTo>
                  <a:lnTo>
                    <a:pt x="205" y="136"/>
                  </a:lnTo>
                  <a:lnTo>
                    <a:pt x="194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2" y="156"/>
                  </a:lnTo>
                  <a:lnTo>
                    <a:pt x="30" y="160"/>
                  </a:lnTo>
                  <a:lnTo>
                    <a:pt x="30" y="166"/>
                  </a:lnTo>
                  <a:lnTo>
                    <a:pt x="30" y="166"/>
                  </a:lnTo>
                  <a:lnTo>
                    <a:pt x="30" y="170"/>
                  </a:lnTo>
                  <a:lnTo>
                    <a:pt x="32" y="174"/>
                  </a:lnTo>
                  <a:lnTo>
                    <a:pt x="36" y="176"/>
                  </a:lnTo>
                  <a:lnTo>
                    <a:pt x="40" y="176"/>
                  </a:lnTo>
                  <a:lnTo>
                    <a:pt x="181" y="176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77" y="183"/>
                  </a:lnTo>
                  <a:lnTo>
                    <a:pt x="175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36" y="193"/>
                  </a:lnTo>
                  <a:lnTo>
                    <a:pt x="32" y="196"/>
                  </a:lnTo>
                  <a:lnTo>
                    <a:pt x="30" y="200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8"/>
                  </a:lnTo>
                  <a:lnTo>
                    <a:pt x="32" y="212"/>
                  </a:lnTo>
                  <a:lnTo>
                    <a:pt x="36" y="214"/>
                  </a:lnTo>
                  <a:lnTo>
                    <a:pt x="40" y="216"/>
                  </a:lnTo>
                  <a:lnTo>
                    <a:pt x="169" y="216"/>
                  </a:lnTo>
                  <a:lnTo>
                    <a:pt x="165" y="240"/>
                  </a:lnTo>
                  <a:lnTo>
                    <a:pt x="165" y="240"/>
                  </a:lnTo>
                  <a:lnTo>
                    <a:pt x="165" y="248"/>
                  </a:lnTo>
                  <a:lnTo>
                    <a:pt x="169" y="252"/>
                  </a:lnTo>
                  <a:lnTo>
                    <a:pt x="169" y="252"/>
                  </a:lnTo>
                  <a:lnTo>
                    <a:pt x="177" y="254"/>
                  </a:lnTo>
                  <a:lnTo>
                    <a:pt x="177" y="254"/>
                  </a:lnTo>
                  <a:lnTo>
                    <a:pt x="181" y="254"/>
                  </a:lnTo>
                  <a:lnTo>
                    <a:pt x="183" y="252"/>
                  </a:lnTo>
                  <a:lnTo>
                    <a:pt x="228" y="214"/>
                  </a:lnTo>
                  <a:lnTo>
                    <a:pt x="228" y="214"/>
                  </a:lnTo>
                  <a:lnTo>
                    <a:pt x="228" y="214"/>
                  </a:lnTo>
                  <a:lnTo>
                    <a:pt x="228" y="296"/>
                  </a:lnTo>
                  <a:lnTo>
                    <a:pt x="0" y="29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0" name="Line 131"/>
            <p:cNvSpPr>
              <a:spLocks noChangeShapeType="1"/>
            </p:cNvSpPr>
            <p:nvPr/>
          </p:nvSpPr>
          <p:spPr bwMode="auto">
            <a:xfrm>
              <a:off x="5550807" y="295924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740201" y="4540516"/>
            <a:ext cx="383848" cy="383848"/>
            <a:chOff x="5046864" y="2698875"/>
            <a:chExt cx="329663" cy="329663"/>
          </a:xfrm>
          <a:solidFill>
            <a:srgbClr val="0065BD"/>
          </a:solidFill>
        </p:grpSpPr>
        <p:sp>
          <p:nvSpPr>
            <p:cNvPr id="62" name="Freeform 132"/>
            <p:cNvSpPr>
              <a:spLocks noEditPoints="1"/>
            </p:cNvSpPr>
            <p:nvPr/>
          </p:nvSpPr>
          <p:spPr bwMode="auto">
            <a:xfrm>
              <a:off x="5046864" y="2698875"/>
              <a:ext cx="329663" cy="329663"/>
            </a:xfrm>
            <a:custGeom>
              <a:avLst/>
              <a:gdLst>
                <a:gd name="T0" fmla="*/ 310 w 314"/>
                <a:gd name="T1" fmla="*/ 4 h 314"/>
                <a:gd name="T2" fmla="*/ 301 w 314"/>
                <a:gd name="T3" fmla="*/ 0 h 314"/>
                <a:gd name="T4" fmla="*/ 11 w 314"/>
                <a:gd name="T5" fmla="*/ 0 h 314"/>
                <a:gd name="T6" fmla="*/ 3 w 314"/>
                <a:gd name="T7" fmla="*/ 4 h 314"/>
                <a:gd name="T8" fmla="*/ 0 w 314"/>
                <a:gd name="T9" fmla="*/ 8 h 314"/>
                <a:gd name="T10" fmla="*/ 0 w 314"/>
                <a:gd name="T11" fmla="*/ 301 h 314"/>
                <a:gd name="T12" fmla="*/ 0 w 314"/>
                <a:gd name="T13" fmla="*/ 307 h 314"/>
                <a:gd name="T14" fmla="*/ 3 w 314"/>
                <a:gd name="T15" fmla="*/ 310 h 314"/>
                <a:gd name="T16" fmla="*/ 11 w 314"/>
                <a:gd name="T17" fmla="*/ 314 h 314"/>
                <a:gd name="T18" fmla="*/ 301 w 314"/>
                <a:gd name="T19" fmla="*/ 314 h 314"/>
                <a:gd name="T20" fmla="*/ 310 w 314"/>
                <a:gd name="T21" fmla="*/ 310 h 314"/>
                <a:gd name="T22" fmla="*/ 312 w 314"/>
                <a:gd name="T23" fmla="*/ 307 h 314"/>
                <a:gd name="T24" fmla="*/ 314 w 314"/>
                <a:gd name="T25" fmla="*/ 13 h 314"/>
                <a:gd name="T26" fmla="*/ 312 w 314"/>
                <a:gd name="T27" fmla="*/ 8 h 314"/>
                <a:gd name="T28" fmla="*/ 310 w 314"/>
                <a:gd name="T29" fmla="*/ 4 h 314"/>
                <a:gd name="T30" fmla="*/ 143 w 314"/>
                <a:gd name="T31" fmla="*/ 249 h 314"/>
                <a:gd name="T32" fmla="*/ 141 w 314"/>
                <a:gd name="T33" fmla="*/ 253 h 314"/>
                <a:gd name="T34" fmla="*/ 38 w 314"/>
                <a:gd name="T35" fmla="*/ 255 h 314"/>
                <a:gd name="T36" fmla="*/ 34 w 314"/>
                <a:gd name="T37" fmla="*/ 253 h 314"/>
                <a:gd name="T38" fmla="*/ 32 w 314"/>
                <a:gd name="T39" fmla="*/ 249 h 314"/>
                <a:gd name="T40" fmla="*/ 32 w 314"/>
                <a:gd name="T41" fmla="*/ 40 h 314"/>
                <a:gd name="T42" fmla="*/ 34 w 314"/>
                <a:gd name="T43" fmla="*/ 34 h 314"/>
                <a:gd name="T44" fmla="*/ 137 w 314"/>
                <a:gd name="T45" fmla="*/ 32 h 314"/>
                <a:gd name="T46" fmla="*/ 141 w 314"/>
                <a:gd name="T47" fmla="*/ 34 h 314"/>
                <a:gd name="T48" fmla="*/ 143 w 314"/>
                <a:gd name="T49" fmla="*/ 40 h 314"/>
                <a:gd name="T50" fmla="*/ 282 w 314"/>
                <a:gd name="T51" fmla="*/ 171 h 314"/>
                <a:gd name="T52" fmla="*/ 280 w 314"/>
                <a:gd name="T53" fmla="*/ 175 h 314"/>
                <a:gd name="T54" fmla="*/ 274 w 314"/>
                <a:gd name="T55" fmla="*/ 177 h 314"/>
                <a:gd name="T56" fmla="*/ 177 w 314"/>
                <a:gd name="T57" fmla="*/ 177 h 314"/>
                <a:gd name="T58" fmla="*/ 171 w 314"/>
                <a:gd name="T59" fmla="*/ 175 h 314"/>
                <a:gd name="T60" fmla="*/ 169 w 314"/>
                <a:gd name="T61" fmla="*/ 40 h 314"/>
                <a:gd name="T62" fmla="*/ 171 w 314"/>
                <a:gd name="T63" fmla="*/ 34 h 314"/>
                <a:gd name="T64" fmla="*/ 177 w 314"/>
                <a:gd name="T65" fmla="*/ 32 h 314"/>
                <a:gd name="T66" fmla="*/ 274 w 314"/>
                <a:gd name="T67" fmla="*/ 32 h 314"/>
                <a:gd name="T68" fmla="*/ 280 w 314"/>
                <a:gd name="T69" fmla="*/ 34 h 314"/>
                <a:gd name="T70" fmla="*/ 282 w 314"/>
                <a:gd name="T71" fmla="*/ 171 h 314"/>
                <a:gd name="T72" fmla="*/ 282 w 314"/>
                <a:gd name="T73" fmla="*/ 17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4" h="314">
                  <a:moveTo>
                    <a:pt x="310" y="4"/>
                  </a:moveTo>
                  <a:lnTo>
                    <a:pt x="310" y="4"/>
                  </a:lnTo>
                  <a:lnTo>
                    <a:pt x="306" y="2"/>
                  </a:lnTo>
                  <a:lnTo>
                    <a:pt x="3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301"/>
                  </a:lnTo>
                  <a:lnTo>
                    <a:pt x="0" y="301"/>
                  </a:lnTo>
                  <a:lnTo>
                    <a:pt x="0" y="307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7" y="314"/>
                  </a:lnTo>
                  <a:lnTo>
                    <a:pt x="11" y="314"/>
                  </a:lnTo>
                  <a:lnTo>
                    <a:pt x="301" y="314"/>
                  </a:lnTo>
                  <a:lnTo>
                    <a:pt x="301" y="314"/>
                  </a:lnTo>
                  <a:lnTo>
                    <a:pt x="306" y="314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2" y="307"/>
                  </a:lnTo>
                  <a:lnTo>
                    <a:pt x="314" y="301"/>
                  </a:lnTo>
                  <a:lnTo>
                    <a:pt x="314" y="13"/>
                  </a:lnTo>
                  <a:lnTo>
                    <a:pt x="314" y="13"/>
                  </a:lnTo>
                  <a:lnTo>
                    <a:pt x="312" y="8"/>
                  </a:lnTo>
                  <a:lnTo>
                    <a:pt x="310" y="4"/>
                  </a:lnTo>
                  <a:lnTo>
                    <a:pt x="310" y="4"/>
                  </a:lnTo>
                  <a:close/>
                  <a:moveTo>
                    <a:pt x="143" y="249"/>
                  </a:moveTo>
                  <a:lnTo>
                    <a:pt x="143" y="249"/>
                  </a:lnTo>
                  <a:lnTo>
                    <a:pt x="141" y="253"/>
                  </a:lnTo>
                  <a:lnTo>
                    <a:pt x="141" y="253"/>
                  </a:lnTo>
                  <a:lnTo>
                    <a:pt x="137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4" y="253"/>
                  </a:lnTo>
                  <a:lnTo>
                    <a:pt x="34" y="253"/>
                  </a:lnTo>
                  <a:lnTo>
                    <a:pt x="32" y="24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8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3" y="40"/>
                  </a:lnTo>
                  <a:lnTo>
                    <a:pt x="143" y="249"/>
                  </a:lnTo>
                  <a:close/>
                  <a:moveTo>
                    <a:pt x="282" y="171"/>
                  </a:moveTo>
                  <a:lnTo>
                    <a:pt x="282" y="171"/>
                  </a:lnTo>
                  <a:lnTo>
                    <a:pt x="280" y="175"/>
                  </a:lnTo>
                  <a:lnTo>
                    <a:pt x="280" y="175"/>
                  </a:lnTo>
                  <a:lnTo>
                    <a:pt x="274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1" y="175"/>
                  </a:lnTo>
                  <a:lnTo>
                    <a:pt x="171" y="175"/>
                  </a:lnTo>
                  <a:lnTo>
                    <a:pt x="169" y="171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77" y="32"/>
                  </a:lnTo>
                  <a:lnTo>
                    <a:pt x="274" y="32"/>
                  </a:lnTo>
                  <a:lnTo>
                    <a:pt x="274" y="32"/>
                  </a:lnTo>
                  <a:lnTo>
                    <a:pt x="280" y="34"/>
                  </a:lnTo>
                  <a:lnTo>
                    <a:pt x="280" y="34"/>
                  </a:lnTo>
                  <a:lnTo>
                    <a:pt x="282" y="40"/>
                  </a:lnTo>
                  <a:lnTo>
                    <a:pt x="282" y="171"/>
                  </a:lnTo>
                  <a:close/>
                  <a:moveTo>
                    <a:pt x="282" y="171"/>
                  </a:moveTo>
                  <a:lnTo>
                    <a:pt x="282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3" name="Freeform 133"/>
            <p:cNvSpPr>
              <a:spLocks/>
            </p:cNvSpPr>
            <p:nvPr/>
          </p:nvSpPr>
          <p:spPr bwMode="auto">
            <a:xfrm>
              <a:off x="5046864" y="2698875"/>
              <a:ext cx="329663" cy="329663"/>
            </a:xfrm>
            <a:custGeom>
              <a:avLst/>
              <a:gdLst>
                <a:gd name="T0" fmla="*/ 310 w 314"/>
                <a:gd name="T1" fmla="*/ 4 h 314"/>
                <a:gd name="T2" fmla="*/ 310 w 314"/>
                <a:gd name="T3" fmla="*/ 4 h 314"/>
                <a:gd name="T4" fmla="*/ 306 w 314"/>
                <a:gd name="T5" fmla="*/ 2 h 314"/>
                <a:gd name="T6" fmla="*/ 301 w 314"/>
                <a:gd name="T7" fmla="*/ 0 h 314"/>
                <a:gd name="T8" fmla="*/ 11 w 314"/>
                <a:gd name="T9" fmla="*/ 0 h 314"/>
                <a:gd name="T10" fmla="*/ 11 w 314"/>
                <a:gd name="T11" fmla="*/ 0 h 314"/>
                <a:gd name="T12" fmla="*/ 7 w 314"/>
                <a:gd name="T13" fmla="*/ 2 h 314"/>
                <a:gd name="T14" fmla="*/ 3 w 314"/>
                <a:gd name="T15" fmla="*/ 4 h 314"/>
                <a:gd name="T16" fmla="*/ 3 w 314"/>
                <a:gd name="T17" fmla="*/ 4 h 314"/>
                <a:gd name="T18" fmla="*/ 0 w 314"/>
                <a:gd name="T19" fmla="*/ 8 h 314"/>
                <a:gd name="T20" fmla="*/ 0 w 314"/>
                <a:gd name="T21" fmla="*/ 13 h 314"/>
                <a:gd name="T22" fmla="*/ 0 w 314"/>
                <a:gd name="T23" fmla="*/ 301 h 314"/>
                <a:gd name="T24" fmla="*/ 0 w 314"/>
                <a:gd name="T25" fmla="*/ 301 h 314"/>
                <a:gd name="T26" fmla="*/ 0 w 314"/>
                <a:gd name="T27" fmla="*/ 307 h 314"/>
                <a:gd name="T28" fmla="*/ 3 w 314"/>
                <a:gd name="T29" fmla="*/ 310 h 314"/>
                <a:gd name="T30" fmla="*/ 3 w 314"/>
                <a:gd name="T31" fmla="*/ 310 h 314"/>
                <a:gd name="T32" fmla="*/ 7 w 314"/>
                <a:gd name="T33" fmla="*/ 314 h 314"/>
                <a:gd name="T34" fmla="*/ 11 w 314"/>
                <a:gd name="T35" fmla="*/ 314 h 314"/>
                <a:gd name="T36" fmla="*/ 301 w 314"/>
                <a:gd name="T37" fmla="*/ 314 h 314"/>
                <a:gd name="T38" fmla="*/ 301 w 314"/>
                <a:gd name="T39" fmla="*/ 314 h 314"/>
                <a:gd name="T40" fmla="*/ 306 w 314"/>
                <a:gd name="T41" fmla="*/ 314 h 314"/>
                <a:gd name="T42" fmla="*/ 310 w 314"/>
                <a:gd name="T43" fmla="*/ 310 h 314"/>
                <a:gd name="T44" fmla="*/ 310 w 314"/>
                <a:gd name="T45" fmla="*/ 310 h 314"/>
                <a:gd name="T46" fmla="*/ 312 w 314"/>
                <a:gd name="T47" fmla="*/ 307 h 314"/>
                <a:gd name="T48" fmla="*/ 314 w 314"/>
                <a:gd name="T49" fmla="*/ 301 h 314"/>
                <a:gd name="T50" fmla="*/ 314 w 314"/>
                <a:gd name="T51" fmla="*/ 13 h 314"/>
                <a:gd name="T52" fmla="*/ 314 w 314"/>
                <a:gd name="T53" fmla="*/ 13 h 314"/>
                <a:gd name="T54" fmla="*/ 312 w 314"/>
                <a:gd name="T55" fmla="*/ 8 h 314"/>
                <a:gd name="T56" fmla="*/ 310 w 314"/>
                <a:gd name="T57" fmla="*/ 4 h 314"/>
                <a:gd name="T58" fmla="*/ 310 w 314"/>
                <a:gd name="T59" fmla="*/ 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14" h="314">
                  <a:moveTo>
                    <a:pt x="310" y="4"/>
                  </a:moveTo>
                  <a:lnTo>
                    <a:pt x="310" y="4"/>
                  </a:lnTo>
                  <a:lnTo>
                    <a:pt x="306" y="2"/>
                  </a:lnTo>
                  <a:lnTo>
                    <a:pt x="3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301"/>
                  </a:lnTo>
                  <a:lnTo>
                    <a:pt x="0" y="301"/>
                  </a:lnTo>
                  <a:lnTo>
                    <a:pt x="0" y="307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7" y="314"/>
                  </a:lnTo>
                  <a:lnTo>
                    <a:pt x="11" y="314"/>
                  </a:lnTo>
                  <a:lnTo>
                    <a:pt x="301" y="314"/>
                  </a:lnTo>
                  <a:lnTo>
                    <a:pt x="301" y="314"/>
                  </a:lnTo>
                  <a:lnTo>
                    <a:pt x="306" y="314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2" y="307"/>
                  </a:lnTo>
                  <a:lnTo>
                    <a:pt x="314" y="301"/>
                  </a:lnTo>
                  <a:lnTo>
                    <a:pt x="314" y="13"/>
                  </a:lnTo>
                  <a:lnTo>
                    <a:pt x="314" y="13"/>
                  </a:lnTo>
                  <a:lnTo>
                    <a:pt x="312" y="8"/>
                  </a:lnTo>
                  <a:lnTo>
                    <a:pt x="310" y="4"/>
                  </a:lnTo>
                  <a:lnTo>
                    <a:pt x="310" y="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4" name="Freeform 134"/>
            <p:cNvSpPr>
              <a:spLocks/>
            </p:cNvSpPr>
            <p:nvPr/>
          </p:nvSpPr>
          <p:spPr bwMode="auto">
            <a:xfrm>
              <a:off x="5080460" y="2732471"/>
              <a:ext cx="116537" cy="234124"/>
            </a:xfrm>
            <a:custGeom>
              <a:avLst/>
              <a:gdLst>
                <a:gd name="T0" fmla="*/ 111 w 111"/>
                <a:gd name="T1" fmla="*/ 217 h 223"/>
                <a:gd name="T2" fmla="*/ 111 w 111"/>
                <a:gd name="T3" fmla="*/ 217 h 223"/>
                <a:gd name="T4" fmla="*/ 109 w 111"/>
                <a:gd name="T5" fmla="*/ 221 h 223"/>
                <a:gd name="T6" fmla="*/ 109 w 111"/>
                <a:gd name="T7" fmla="*/ 221 h 223"/>
                <a:gd name="T8" fmla="*/ 105 w 111"/>
                <a:gd name="T9" fmla="*/ 223 h 223"/>
                <a:gd name="T10" fmla="*/ 6 w 111"/>
                <a:gd name="T11" fmla="*/ 223 h 223"/>
                <a:gd name="T12" fmla="*/ 6 w 111"/>
                <a:gd name="T13" fmla="*/ 223 h 223"/>
                <a:gd name="T14" fmla="*/ 2 w 111"/>
                <a:gd name="T15" fmla="*/ 221 h 223"/>
                <a:gd name="T16" fmla="*/ 2 w 111"/>
                <a:gd name="T17" fmla="*/ 221 h 223"/>
                <a:gd name="T18" fmla="*/ 0 w 111"/>
                <a:gd name="T19" fmla="*/ 217 h 223"/>
                <a:gd name="T20" fmla="*/ 0 w 111"/>
                <a:gd name="T21" fmla="*/ 8 h 223"/>
                <a:gd name="T22" fmla="*/ 0 w 111"/>
                <a:gd name="T23" fmla="*/ 8 h 223"/>
                <a:gd name="T24" fmla="*/ 2 w 111"/>
                <a:gd name="T25" fmla="*/ 2 h 223"/>
                <a:gd name="T26" fmla="*/ 2 w 111"/>
                <a:gd name="T27" fmla="*/ 2 h 223"/>
                <a:gd name="T28" fmla="*/ 6 w 111"/>
                <a:gd name="T29" fmla="*/ 0 h 223"/>
                <a:gd name="T30" fmla="*/ 105 w 111"/>
                <a:gd name="T31" fmla="*/ 0 h 223"/>
                <a:gd name="T32" fmla="*/ 105 w 111"/>
                <a:gd name="T33" fmla="*/ 0 h 223"/>
                <a:gd name="T34" fmla="*/ 109 w 111"/>
                <a:gd name="T35" fmla="*/ 2 h 223"/>
                <a:gd name="T36" fmla="*/ 109 w 111"/>
                <a:gd name="T37" fmla="*/ 2 h 223"/>
                <a:gd name="T38" fmla="*/ 111 w 111"/>
                <a:gd name="T39" fmla="*/ 8 h 223"/>
                <a:gd name="T40" fmla="*/ 111 w 111"/>
                <a:gd name="T41" fmla="*/ 21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1" h="223">
                  <a:moveTo>
                    <a:pt x="111" y="217"/>
                  </a:moveTo>
                  <a:lnTo>
                    <a:pt x="111" y="217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0" y="2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11" y="8"/>
                  </a:lnTo>
                  <a:lnTo>
                    <a:pt x="111" y="21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5" name="Freeform 135"/>
            <p:cNvSpPr>
              <a:spLocks/>
            </p:cNvSpPr>
            <p:nvPr/>
          </p:nvSpPr>
          <p:spPr bwMode="auto">
            <a:xfrm>
              <a:off x="5224294" y="2732471"/>
              <a:ext cx="118637" cy="152233"/>
            </a:xfrm>
            <a:custGeom>
              <a:avLst/>
              <a:gdLst>
                <a:gd name="T0" fmla="*/ 113 w 113"/>
                <a:gd name="T1" fmla="*/ 139 h 145"/>
                <a:gd name="T2" fmla="*/ 113 w 113"/>
                <a:gd name="T3" fmla="*/ 139 h 145"/>
                <a:gd name="T4" fmla="*/ 111 w 113"/>
                <a:gd name="T5" fmla="*/ 143 h 145"/>
                <a:gd name="T6" fmla="*/ 111 w 113"/>
                <a:gd name="T7" fmla="*/ 143 h 145"/>
                <a:gd name="T8" fmla="*/ 105 w 113"/>
                <a:gd name="T9" fmla="*/ 145 h 145"/>
                <a:gd name="T10" fmla="*/ 8 w 113"/>
                <a:gd name="T11" fmla="*/ 145 h 145"/>
                <a:gd name="T12" fmla="*/ 8 w 113"/>
                <a:gd name="T13" fmla="*/ 145 h 145"/>
                <a:gd name="T14" fmla="*/ 2 w 113"/>
                <a:gd name="T15" fmla="*/ 143 h 145"/>
                <a:gd name="T16" fmla="*/ 2 w 113"/>
                <a:gd name="T17" fmla="*/ 143 h 145"/>
                <a:gd name="T18" fmla="*/ 0 w 113"/>
                <a:gd name="T19" fmla="*/ 139 h 145"/>
                <a:gd name="T20" fmla="*/ 0 w 113"/>
                <a:gd name="T21" fmla="*/ 8 h 145"/>
                <a:gd name="T22" fmla="*/ 0 w 113"/>
                <a:gd name="T23" fmla="*/ 8 h 145"/>
                <a:gd name="T24" fmla="*/ 2 w 113"/>
                <a:gd name="T25" fmla="*/ 2 h 145"/>
                <a:gd name="T26" fmla="*/ 2 w 113"/>
                <a:gd name="T27" fmla="*/ 2 h 145"/>
                <a:gd name="T28" fmla="*/ 8 w 113"/>
                <a:gd name="T29" fmla="*/ 0 h 145"/>
                <a:gd name="T30" fmla="*/ 105 w 113"/>
                <a:gd name="T31" fmla="*/ 0 h 145"/>
                <a:gd name="T32" fmla="*/ 105 w 113"/>
                <a:gd name="T33" fmla="*/ 0 h 145"/>
                <a:gd name="T34" fmla="*/ 111 w 113"/>
                <a:gd name="T35" fmla="*/ 2 h 145"/>
                <a:gd name="T36" fmla="*/ 111 w 113"/>
                <a:gd name="T37" fmla="*/ 2 h 145"/>
                <a:gd name="T38" fmla="*/ 113 w 113"/>
                <a:gd name="T39" fmla="*/ 8 h 145"/>
                <a:gd name="T40" fmla="*/ 113 w 113"/>
                <a:gd name="T41" fmla="*/ 13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145">
                  <a:moveTo>
                    <a:pt x="113" y="139"/>
                  </a:moveTo>
                  <a:lnTo>
                    <a:pt x="113" y="139"/>
                  </a:lnTo>
                  <a:lnTo>
                    <a:pt x="111" y="143"/>
                  </a:lnTo>
                  <a:lnTo>
                    <a:pt x="111" y="143"/>
                  </a:lnTo>
                  <a:lnTo>
                    <a:pt x="105" y="145"/>
                  </a:lnTo>
                  <a:lnTo>
                    <a:pt x="8" y="145"/>
                  </a:lnTo>
                  <a:lnTo>
                    <a:pt x="8" y="145"/>
                  </a:lnTo>
                  <a:lnTo>
                    <a:pt x="2" y="143"/>
                  </a:lnTo>
                  <a:lnTo>
                    <a:pt x="2" y="143"/>
                  </a:lnTo>
                  <a:lnTo>
                    <a:pt x="0" y="13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3" y="8"/>
                  </a:lnTo>
                  <a:lnTo>
                    <a:pt x="113" y="13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6" name="Line 136"/>
            <p:cNvSpPr>
              <a:spLocks noChangeShapeType="1"/>
            </p:cNvSpPr>
            <p:nvPr/>
          </p:nvSpPr>
          <p:spPr bwMode="auto">
            <a:xfrm>
              <a:off x="5342931" y="287840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98527" y="5661489"/>
            <a:ext cx="467197" cy="501843"/>
            <a:chOff x="4083073" y="2574989"/>
            <a:chExt cx="467197" cy="501843"/>
          </a:xfrm>
          <a:solidFill>
            <a:srgbClr val="0065BD"/>
          </a:solidFill>
        </p:grpSpPr>
        <p:sp>
          <p:nvSpPr>
            <p:cNvPr id="68" name="Freeform 143"/>
            <p:cNvSpPr>
              <a:spLocks noEditPoints="1"/>
            </p:cNvSpPr>
            <p:nvPr/>
          </p:nvSpPr>
          <p:spPr bwMode="auto">
            <a:xfrm>
              <a:off x="4083073" y="2574989"/>
              <a:ext cx="467197" cy="501843"/>
            </a:xfrm>
            <a:custGeom>
              <a:avLst/>
              <a:gdLst>
                <a:gd name="T0" fmla="*/ 190 w 445"/>
                <a:gd name="T1" fmla="*/ 463 h 478"/>
                <a:gd name="T2" fmla="*/ 89 w 445"/>
                <a:gd name="T3" fmla="*/ 367 h 478"/>
                <a:gd name="T4" fmla="*/ 28 w 445"/>
                <a:gd name="T5" fmla="*/ 314 h 478"/>
                <a:gd name="T6" fmla="*/ 7 w 445"/>
                <a:gd name="T7" fmla="*/ 255 h 478"/>
                <a:gd name="T8" fmla="*/ 51 w 445"/>
                <a:gd name="T9" fmla="*/ 110 h 478"/>
                <a:gd name="T10" fmla="*/ 192 w 445"/>
                <a:gd name="T11" fmla="*/ 2 h 478"/>
                <a:gd name="T12" fmla="*/ 249 w 445"/>
                <a:gd name="T13" fmla="*/ 21 h 478"/>
                <a:gd name="T14" fmla="*/ 365 w 445"/>
                <a:gd name="T15" fmla="*/ 51 h 478"/>
                <a:gd name="T16" fmla="*/ 342 w 445"/>
                <a:gd name="T17" fmla="*/ 124 h 478"/>
                <a:gd name="T18" fmla="*/ 369 w 445"/>
                <a:gd name="T19" fmla="*/ 213 h 478"/>
                <a:gd name="T20" fmla="*/ 428 w 445"/>
                <a:gd name="T21" fmla="*/ 266 h 478"/>
                <a:gd name="T22" fmla="*/ 428 w 445"/>
                <a:gd name="T23" fmla="*/ 308 h 478"/>
                <a:gd name="T24" fmla="*/ 443 w 445"/>
                <a:gd name="T25" fmla="*/ 333 h 478"/>
                <a:gd name="T26" fmla="*/ 382 w 445"/>
                <a:gd name="T27" fmla="*/ 432 h 478"/>
                <a:gd name="T28" fmla="*/ 276 w 445"/>
                <a:gd name="T29" fmla="*/ 478 h 478"/>
                <a:gd name="T30" fmla="*/ 150 w 445"/>
                <a:gd name="T31" fmla="*/ 42 h 478"/>
                <a:gd name="T32" fmla="*/ 131 w 445"/>
                <a:gd name="T33" fmla="*/ 57 h 478"/>
                <a:gd name="T34" fmla="*/ 125 w 445"/>
                <a:gd name="T35" fmla="*/ 68 h 478"/>
                <a:gd name="T36" fmla="*/ 99 w 445"/>
                <a:gd name="T37" fmla="*/ 82 h 478"/>
                <a:gd name="T38" fmla="*/ 89 w 445"/>
                <a:gd name="T39" fmla="*/ 105 h 478"/>
                <a:gd name="T40" fmla="*/ 68 w 445"/>
                <a:gd name="T41" fmla="*/ 112 h 478"/>
                <a:gd name="T42" fmla="*/ 91 w 445"/>
                <a:gd name="T43" fmla="*/ 152 h 478"/>
                <a:gd name="T44" fmla="*/ 127 w 445"/>
                <a:gd name="T45" fmla="*/ 112 h 478"/>
                <a:gd name="T46" fmla="*/ 141 w 445"/>
                <a:gd name="T47" fmla="*/ 74 h 478"/>
                <a:gd name="T48" fmla="*/ 165 w 445"/>
                <a:gd name="T49" fmla="*/ 65 h 478"/>
                <a:gd name="T50" fmla="*/ 167 w 445"/>
                <a:gd name="T51" fmla="*/ 59 h 478"/>
                <a:gd name="T52" fmla="*/ 167 w 445"/>
                <a:gd name="T53" fmla="*/ 46 h 478"/>
                <a:gd name="T54" fmla="*/ 171 w 445"/>
                <a:gd name="T55" fmla="*/ 26 h 478"/>
                <a:gd name="T56" fmla="*/ 282 w 445"/>
                <a:gd name="T57" fmla="*/ 379 h 478"/>
                <a:gd name="T58" fmla="*/ 262 w 445"/>
                <a:gd name="T59" fmla="*/ 335 h 478"/>
                <a:gd name="T60" fmla="*/ 379 w 445"/>
                <a:gd name="T61" fmla="*/ 301 h 478"/>
                <a:gd name="T62" fmla="*/ 396 w 445"/>
                <a:gd name="T63" fmla="*/ 247 h 478"/>
                <a:gd name="T64" fmla="*/ 348 w 445"/>
                <a:gd name="T65" fmla="*/ 156 h 478"/>
                <a:gd name="T66" fmla="*/ 262 w 445"/>
                <a:gd name="T67" fmla="*/ 171 h 478"/>
                <a:gd name="T68" fmla="*/ 203 w 445"/>
                <a:gd name="T69" fmla="*/ 192 h 478"/>
                <a:gd name="T70" fmla="*/ 213 w 445"/>
                <a:gd name="T71" fmla="*/ 268 h 478"/>
                <a:gd name="T72" fmla="*/ 245 w 445"/>
                <a:gd name="T73" fmla="*/ 287 h 478"/>
                <a:gd name="T74" fmla="*/ 209 w 445"/>
                <a:gd name="T75" fmla="*/ 335 h 478"/>
                <a:gd name="T76" fmla="*/ 219 w 445"/>
                <a:gd name="T77" fmla="*/ 348 h 478"/>
                <a:gd name="T78" fmla="*/ 228 w 445"/>
                <a:gd name="T79" fmla="*/ 375 h 478"/>
                <a:gd name="T80" fmla="*/ 261 w 445"/>
                <a:gd name="T81" fmla="*/ 419 h 478"/>
                <a:gd name="T82" fmla="*/ 306 w 445"/>
                <a:gd name="T83" fmla="*/ 432 h 478"/>
                <a:gd name="T84" fmla="*/ 409 w 445"/>
                <a:gd name="T85" fmla="*/ 375 h 478"/>
                <a:gd name="T86" fmla="*/ 419 w 445"/>
                <a:gd name="T87" fmla="*/ 318 h 478"/>
                <a:gd name="T88" fmla="*/ 377 w 445"/>
                <a:gd name="T89" fmla="*/ 310 h 478"/>
                <a:gd name="T90" fmla="*/ 293 w 445"/>
                <a:gd name="T91" fmla="*/ 333 h 478"/>
                <a:gd name="T92" fmla="*/ 274 w 445"/>
                <a:gd name="T93" fmla="*/ 366 h 478"/>
                <a:gd name="T94" fmla="*/ 386 w 445"/>
                <a:gd name="T95" fmla="*/ 352 h 478"/>
                <a:gd name="T96" fmla="*/ 400 w 445"/>
                <a:gd name="T97" fmla="*/ 350 h 478"/>
                <a:gd name="T98" fmla="*/ 118 w 445"/>
                <a:gd name="T99" fmla="*/ 329 h 478"/>
                <a:gd name="T100" fmla="*/ 116 w 445"/>
                <a:gd name="T101" fmla="*/ 303 h 478"/>
                <a:gd name="T102" fmla="*/ 112 w 445"/>
                <a:gd name="T103" fmla="*/ 284 h 478"/>
                <a:gd name="T104" fmla="*/ 76 w 445"/>
                <a:gd name="T105" fmla="*/ 295 h 478"/>
                <a:gd name="T106" fmla="*/ 264 w 445"/>
                <a:gd name="T107" fmla="*/ 26 h 478"/>
                <a:gd name="T108" fmla="*/ 217 w 445"/>
                <a:gd name="T109" fmla="*/ 57 h 478"/>
                <a:gd name="T110" fmla="*/ 154 w 445"/>
                <a:gd name="T111" fmla="*/ 126 h 478"/>
                <a:gd name="T112" fmla="*/ 304 w 445"/>
                <a:gd name="T113" fmla="*/ 17 h 478"/>
                <a:gd name="T114" fmla="*/ 156 w 445"/>
                <a:gd name="T115" fmla="*/ 80 h 478"/>
                <a:gd name="T116" fmla="*/ 144 w 445"/>
                <a:gd name="T117" fmla="*/ 97 h 478"/>
                <a:gd name="T118" fmla="*/ 203 w 445"/>
                <a:gd name="T119" fmla="*/ 25 h 478"/>
                <a:gd name="T120" fmla="*/ 116 w 445"/>
                <a:gd name="T121" fmla="*/ 6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5" h="478">
                  <a:moveTo>
                    <a:pt x="266" y="478"/>
                  </a:moveTo>
                  <a:lnTo>
                    <a:pt x="266" y="478"/>
                  </a:lnTo>
                  <a:lnTo>
                    <a:pt x="261" y="478"/>
                  </a:lnTo>
                  <a:lnTo>
                    <a:pt x="261" y="478"/>
                  </a:lnTo>
                  <a:lnTo>
                    <a:pt x="251" y="478"/>
                  </a:lnTo>
                  <a:lnTo>
                    <a:pt x="243" y="478"/>
                  </a:lnTo>
                  <a:lnTo>
                    <a:pt x="243" y="478"/>
                  </a:lnTo>
                  <a:lnTo>
                    <a:pt x="226" y="474"/>
                  </a:lnTo>
                  <a:lnTo>
                    <a:pt x="226" y="474"/>
                  </a:lnTo>
                  <a:lnTo>
                    <a:pt x="213" y="470"/>
                  </a:lnTo>
                  <a:lnTo>
                    <a:pt x="202" y="466"/>
                  </a:lnTo>
                  <a:lnTo>
                    <a:pt x="202" y="466"/>
                  </a:lnTo>
                  <a:lnTo>
                    <a:pt x="190" y="463"/>
                  </a:lnTo>
                  <a:lnTo>
                    <a:pt x="179" y="457"/>
                  </a:lnTo>
                  <a:lnTo>
                    <a:pt x="179" y="457"/>
                  </a:lnTo>
                  <a:lnTo>
                    <a:pt x="167" y="451"/>
                  </a:lnTo>
                  <a:lnTo>
                    <a:pt x="158" y="446"/>
                  </a:lnTo>
                  <a:lnTo>
                    <a:pt x="158" y="446"/>
                  </a:lnTo>
                  <a:lnTo>
                    <a:pt x="141" y="432"/>
                  </a:lnTo>
                  <a:lnTo>
                    <a:pt x="123" y="415"/>
                  </a:lnTo>
                  <a:lnTo>
                    <a:pt x="123" y="415"/>
                  </a:lnTo>
                  <a:lnTo>
                    <a:pt x="108" y="396"/>
                  </a:lnTo>
                  <a:lnTo>
                    <a:pt x="97" y="377"/>
                  </a:lnTo>
                  <a:lnTo>
                    <a:pt x="97" y="377"/>
                  </a:lnTo>
                  <a:lnTo>
                    <a:pt x="91" y="369"/>
                  </a:lnTo>
                  <a:lnTo>
                    <a:pt x="89" y="367"/>
                  </a:lnTo>
                  <a:lnTo>
                    <a:pt x="83" y="367"/>
                  </a:lnTo>
                  <a:lnTo>
                    <a:pt x="83" y="367"/>
                  </a:lnTo>
                  <a:lnTo>
                    <a:pt x="78" y="367"/>
                  </a:lnTo>
                  <a:lnTo>
                    <a:pt x="72" y="366"/>
                  </a:lnTo>
                  <a:lnTo>
                    <a:pt x="61" y="360"/>
                  </a:lnTo>
                  <a:lnTo>
                    <a:pt x="61" y="360"/>
                  </a:lnTo>
                  <a:lnTo>
                    <a:pt x="51" y="352"/>
                  </a:lnTo>
                  <a:lnTo>
                    <a:pt x="42" y="343"/>
                  </a:lnTo>
                  <a:lnTo>
                    <a:pt x="34" y="331"/>
                  </a:lnTo>
                  <a:lnTo>
                    <a:pt x="30" y="320"/>
                  </a:lnTo>
                  <a:lnTo>
                    <a:pt x="30" y="320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8" y="291"/>
                  </a:lnTo>
                  <a:lnTo>
                    <a:pt x="28" y="291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2" y="282"/>
                  </a:lnTo>
                  <a:lnTo>
                    <a:pt x="32" y="278"/>
                  </a:lnTo>
                  <a:lnTo>
                    <a:pt x="32" y="278"/>
                  </a:lnTo>
                  <a:lnTo>
                    <a:pt x="30" y="274"/>
                  </a:lnTo>
                  <a:lnTo>
                    <a:pt x="26" y="272"/>
                  </a:lnTo>
                  <a:lnTo>
                    <a:pt x="26" y="272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7" y="255"/>
                  </a:lnTo>
                  <a:lnTo>
                    <a:pt x="3" y="247"/>
                  </a:lnTo>
                  <a:lnTo>
                    <a:pt x="2" y="240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19"/>
                  </a:lnTo>
                  <a:lnTo>
                    <a:pt x="2" y="206"/>
                  </a:lnTo>
                  <a:lnTo>
                    <a:pt x="5" y="19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9" y="162"/>
                  </a:lnTo>
                  <a:lnTo>
                    <a:pt x="28" y="145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83" y="70"/>
                  </a:lnTo>
                  <a:lnTo>
                    <a:pt x="95" y="59"/>
                  </a:lnTo>
                  <a:lnTo>
                    <a:pt x="95" y="59"/>
                  </a:lnTo>
                  <a:lnTo>
                    <a:pt x="118" y="40"/>
                  </a:lnTo>
                  <a:lnTo>
                    <a:pt x="129" y="30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62" y="11"/>
                  </a:lnTo>
                  <a:lnTo>
                    <a:pt x="182" y="4"/>
                  </a:lnTo>
                  <a:lnTo>
                    <a:pt x="182" y="4"/>
                  </a:lnTo>
                  <a:lnTo>
                    <a:pt x="192" y="2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9" y="0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221" y="4"/>
                  </a:lnTo>
                  <a:lnTo>
                    <a:pt x="224" y="6"/>
                  </a:lnTo>
                  <a:lnTo>
                    <a:pt x="224" y="6"/>
                  </a:lnTo>
                  <a:lnTo>
                    <a:pt x="242" y="21"/>
                  </a:lnTo>
                  <a:lnTo>
                    <a:pt x="242" y="21"/>
                  </a:lnTo>
                  <a:lnTo>
                    <a:pt x="245" y="23"/>
                  </a:lnTo>
                  <a:lnTo>
                    <a:pt x="249" y="21"/>
                  </a:lnTo>
                  <a:lnTo>
                    <a:pt x="249" y="21"/>
                  </a:lnTo>
                  <a:lnTo>
                    <a:pt x="268" y="1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06" y="0"/>
                  </a:lnTo>
                  <a:lnTo>
                    <a:pt x="322" y="0"/>
                  </a:lnTo>
                  <a:lnTo>
                    <a:pt x="337" y="4"/>
                  </a:lnTo>
                  <a:lnTo>
                    <a:pt x="352" y="11"/>
                  </a:lnTo>
                  <a:lnTo>
                    <a:pt x="352" y="11"/>
                  </a:lnTo>
                  <a:lnTo>
                    <a:pt x="360" y="1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5" y="44"/>
                  </a:lnTo>
                  <a:lnTo>
                    <a:pt x="365" y="51"/>
                  </a:lnTo>
                  <a:lnTo>
                    <a:pt x="363" y="59"/>
                  </a:lnTo>
                  <a:lnTo>
                    <a:pt x="363" y="59"/>
                  </a:lnTo>
                  <a:lnTo>
                    <a:pt x="360" y="72"/>
                  </a:lnTo>
                  <a:lnTo>
                    <a:pt x="356" y="86"/>
                  </a:lnTo>
                  <a:lnTo>
                    <a:pt x="348" y="97"/>
                  </a:lnTo>
                  <a:lnTo>
                    <a:pt x="341" y="108"/>
                  </a:lnTo>
                  <a:lnTo>
                    <a:pt x="341" y="108"/>
                  </a:lnTo>
                  <a:lnTo>
                    <a:pt x="339" y="114"/>
                  </a:lnTo>
                  <a:lnTo>
                    <a:pt x="339" y="114"/>
                  </a:lnTo>
                  <a:lnTo>
                    <a:pt x="337" y="116"/>
                  </a:lnTo>
                  <a:lnTo>
                    <a:pt x="339" y="118"/>
                  </a:lnTo>
                  <a:lnTo>
                    <a:pt x="339" y="118"/>
                  </a:lnTo>
                  <a:lnTo>
                    <a:pt x="342" y="124"/>
                  </a:lnTo>
                  <a:lnTo>
                    <a:pt x="346" y="129"/>
                  </a:lnTo>
                  <a:lnTo>
                    <a:pt x="346" y="129"/>
                  </a:lnTo>
                  <a:lnTo>
                    <a:pt x="350" y="139"/>
                  </a:lnTo>
                  <a:lnTo>
                    <a:pt x="356" y="146"/>
                  </a:lnTo>
                  <a:lnTo>
                    <a:pt x="356" y="146"/>
                  </a:lnTo>
                  <a:lnTo>
                    <a:pt x="363" y="156"/>
                  </a:lnTo>
                  <a:lnTo>
                    <a:pt x="365" y="169"/>
                  </a:lnTo>
                  <a:lnTo>
                    <a:pt x="365" y="169"/>
                  </a:lnTo>
                  <a:lnTo>
                    <a:pt x="367" y="188"/>
                  </a:lnTo>
                  <a:lnTo>
                    <a:pt x="367" y="188"/>
                  </a:lnTo>
                  <a:lnTo>
                    <a:pt x="367" y="209"/>
                  </a:lnTo>
                  <a:lnTo>
                    <a:pt x="367" y="209"/>
                  </a:lnTo>
                  <a:lnTo>
                    <a:pt x="369" y="213"/>
                  </a:lnTo>
                  <a:lnTo>
                    <a:pt x="371" y="217"/>
                  </a:lnTo>
                  <a:lnTo>
                    <a:pt x="373" y="219"/>
                  </a:lnTo>
                  <a:lnTo>
                    <a:pt x="377" y="223"/>
                  </a:lnTo>
                  <a:lnTo>
                    <a:pt x="377" y="223"/>
                  </a:lnTo>
                  <a:lnTo>
                    <a:pt x="386" y="226"/>
                  </a:lnTo>
                  <a:lnTo>
                    <a:pt x="396" y="232"/>
                  </a:lnTo>
                  <a:lnTo>
                    <a:pt x="396" y="232"/>
                  </a:lnTo>
                  <a:lnTo>
                    <a:pt x="400" y="234"/>
                  </a:lnTo>
                  <a:lnTo>
                    <a:pt x="400" y="234"/>
                  </a:lnTo>
                  <a:lnTo>
                    <a:pt x="421" y="253"/>
                  </a:lnTo>
                  <a:lnTo>
                    <a:pt x="421" y="253"/>
                  </a:lnTo>
                  <a:lnTo>
                    <a:pt x="426" y="259"/>
                  </a:lnTo>
                  <a:lnTo>
                    <a:pt x="428" y="266"/>
                  </a:lnTo>
                  <a:lnTo>
                    <a:pt x="428" y="274"/>
                  </a:lnTo>
                  <a:lnTo>
                    <a:pt x="426" y="282"/>
                  </a:lnTo>
                  <a:lnTo>
                    <a:pt x="426" y="282"/>
                  </a:lnTo>
                  <a:lnTo>
                    <a:pt x="422" y="287"/>
                  </a:lnTo>
                  <a:lnTo>
                    <a:pt x="422" y="287"/>
                  </a:lnTo>
                  <a:lnTo>
                    <a:pt x="421" y="291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4" y="299"/>
                  </a:lnTo>
                  <a:lnTo>
                    <a:pt x="426" y="305"/>
                  </a:lnTo>
                  <a:lnTo>
                    <a:pt x="426" y="305"/>
                  </a:lnTo>
                  <a:lnTo>
                    <a:pt x="426" y="306"/>
                  </a:lnTo>
                  <a:lnTo>
                    <a:pt x="428" y="308"/>
                  </a:lnTo>
                  <a:lnTo>
                    <a:pt x="428" y="308"/>
                  </a:lnTo>
                  <a:lnTo>
                    <a:pt x="434" y="310"/>
                  </a:lnTo>
                  <a:lnTo>
                    <a:pt x="438" y="314"/>
                  </a:lnTo>
                  <a:lnTo>
                    <a:pt x="438" y="314"/>
                  </a:lnTo>
                  <a:lnTo>
                    <a:pt x="442" y="318"/>
                  </a:lnTo>
                  <a:lnTo>
                    <a:pt x="443" y="320"/>
                  </a:lnTo>
                  <a:lnTo>
                    <a:pt x="443" y="324"/>
                  </a:lnTo>
                  <a:lnTo>
                    <a:pt x="443" y="324"/>
                  </a:lnTo>
                  <a:lnTo>
                    <a:pt x="443" y="326"/>
                  </a:lnTo>
                  <a:lnTo>
                    <a:pt x="445" y="327"/>
                  </a:lnTo>
                  <a:lnTo>
                    <a:pt x="445" y="331"/>
                  </a:lnTo>
                  <a:lnTo>
                    <a:pt x="443" y="333"/>
                  </a:lnTo>
                  <a:lnTo>
                    <a:pt x="443" y="333"/>
                  </a:lnTo>
                  <a:lnTo>
                    <a:pt x="442" y="341"/>
                  </a:lnTo>
                  <a:lnTo>
                    <a:pt x="436" y="348"/>
                  </a:lnTo>
                  <a:lnTo>
                    <a:pt x="436" y="348"/>
                  </a:lnTo>
                  <a:lnTo>
                    <a:pt x="436" y="352"/>
                  </a:lnTo>
                  <a:lnTo>
                    <a:pt x="434" y="354"/>
                  </a:lnTo>
                  <a:lnTo>
                    <a:pt x="434" y="354"/>
                  </a:lnTo>
                  <a:lnTo>
                    <a:pt x="422" y="381"/>
                  </a:lnTo>
                  <a:lnTo>
                    <a:pt x="409" y="406"/>
                  </a:lnTo>
                  <a:lnTo>
                    <a:pt x="409" y="406"/>
                  </a:lnTo>
                  <a:lnTo>
                    <a:pt x="402" y="411"/>
                  </a:lnTo>
                  <a:lnTo>
                    <a:pt x="396" y="419"/>
                  </a:lnTo>
                  <a:lnTo>
                    <a:pt x="390" y="426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69" y="442"/>
                  </a:lnTo>
                  <a:lnTo>
                    <a:pt x="358" y="451"/>
                  </a:lnTo>
                  <a:lnTo>
                    <a:pt x="358" y="451"/>
                  </a:lnTo>
                  <a:lnTo>
                    <a:pt x="341" y="461"/>
                  </a:lnTo>
                  <a:lnTo>
                    <a:pt x="333" y="466"/>
                  </a:lnTo>
                  <a:lnTo>
                    <a:pt x="323" y="468"/>
                  </a:lnTo>
                  <a:lnTo>
                    <a:pt x="323" y="468"/>
                  </a:lnTo>
                  <a:lnTo>
                    <a:pt x="301" y="476"/>
                  </a:lnTo>
                  <a:lnTo>
                    <a:pt x="301" y="476"/>
                  </a:lnTo>
                  <a:lnTo>
                    <a:pt x="287" y="478"/>
                  </a:lnTo>
                  <a:lnTo>
                    <a:pt x="276" y="478"/>
                  </a:lnTo>
                  <a:lnTo>
                    <a:pt x="276" y="478"/>
                  </a:lnTo>
                  <a:lnTo>
                    <a:pt x="266" y="478"/>
                  </a:lnTo>
                  <a:lnTo>
                    <a:pt x="266" y="478"/>
                  </a:lnTo>
                  <a:close/>
                  <a:moveTo>
                    <a:pt x="175" y="36"/>
                  </a:moveTo>
                  <a:lnTo>
                    <a:pt x="175" y="36"/>
                  </a:lnTo>
                  <a:lnTo>
                    <a:pt x="173" y="30"/>
                  </a:lnTo>
                  <a:lnTo>
                    <a:pt x="173" y="30"/>
                  </a:lnTo>
                  <a:lnTo>
                    <a:pt x="169" y="28"/>
                  </a:lnTo>
                  <a:lnTo>
                    <a:pt x="169" y="28"/>
                  </a:lnTo>
                  <a:lnTo>
                    <a:pt x="165" y="34"/>
                  </a:lnTo>
                  <a:lnTo>
                    <a:pt x="162" y="36"/>
                  </a:lnTo>
                  <a:lnTo>
                    <a:pt x="156" y="38"/>
                  </a:lnTo>
                  <a:lnTo>
                    <a:pt x="150" y="42"/>
                  </a:lnTo>
                  <a:lnTo>
                    <a:pt x="150" y="42"/>
                  </a:lnTo>
                  <a:lnTo>
                    <a:pt x="148" y="44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33" y="47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3"/>
                  </a:lnTo>
                  <a:lnTo>
                    <a:pt x="133" y="55"/>
                  </a:lnTo>
                  <a:lnTo>
                    <a:pt x="131" y="57"/>
                  </a:lnTo>
                  <a:lnTo>
                    <a:pt x="127" y="57"/>
                  </a:lnTo>
                  <a:lnTo>
                    <a:pt x="127" y="57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2" y="61"/>
                  </a:lnTo>
                  <a:lnTo>
                    <a:pt x="122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9" y="65"/>
                  </a:lnTo>
                  <a:lnTo>
                    <a:pt x="129" y="65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3" y="70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18" y="72"/>
                  </a:lnTo>
                  <a:lnTo>
                    <a:pt x="114" y="74"/>
                  </a:lnTo>
                  <a:lnTo>
                    <a:pt x="112" y="74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99" y="82"/>
                  </a:lnTo>
                  <a:lnTo>
                    <a:pt x="99" y="82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9" y="105"/>
                  </a:lnTo>
                  <a:lnTo>
                    <a:pt x="89" y="105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12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0" y="120"/>
                  </a:lnTo>
                  <a:lnTo>
                    <a:pt x="78" y="120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4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6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1" y="127"/>
                  </a:lnTo>
                  <a:lnTo>
                    <a:pt x="89" y="154"/>
                  </a:lnTo>
                  <a:lnTo>
                    <a:pt x="89" y="154"/>
                  </a:lnTo>
                  <a:lnTo>
                    <a:pt x="91" y="154"/>
                  </a:lnTo>
                  <a:lnTo>
                    <a:pt x="91" y="154"/>
                  </a:lnTo>
                  <a:lnTo>
                    <a:pt x="91" y="152"/>
                  </a:lnTo>
                  <a:lnTo>
                    <a:pt x="93" y="150"/>
                  </a:lnTo>
                  <a:lnTo>
                    <a:pt x="95" y="150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5"/>
                  </a:lnTo>
                  <a:lnTo>
                    <a:pt x="99" y="145"/>
                  </a:lnTo>
                  <a:lnTo>
                    <a:pt x="99" y="145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8" y="133"/>
                  </a:lnTo>
                  <a:lnTo>
                    <a:pt x="114" y="127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31" y="110"/>
                  </a:lnTo>
                  <a:lnTo>
                    <a:pt x="133" y="106"/>
                  </a:lnTo>
                  <a:lnTo>
                    <a:pt x="129" y="105"/>
                  </a:lnTo>
                  <a:lnTo>
                    <a:pt x="129" y="105"/>
                  </a:lnTo>
                  <a:lnTo>
                    <a:pt x="131" y="103"/>
                  </a:lnTo>
                  <a:lnTo>
                    <a:pt x="131" y="99"/>
                  </a:lnTo>
                  <a:lnTo>
                    <a:pt x="129" y="93"/>
                  </a:lnTo>
                  <a:lnTo>
                    <a:pt x="129" y="93"/>
                  </a:lnTo>
                  <a:lnTo>
                    <a:pt x="129" y="89"/>
                  </a:lnTo>
                  <a:lnTo>
                    <a:pt x="131" y="87"/>
                  </a:lnTo>
                  <a:lnTo>
                    <a:pt x="135" y="82"/>
                  </a:lnTo>
                  <a:lnTo>
                    <a:pt x="135" y="82"/>
                  </a:lnTo>
                  <a:lnTo>
                    <a:pt x="141" y="74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50" y="68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0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3" y="66"/>
                  </a:lnTo>
                  <a:lnTo>
                    <a:pt x="163" y="66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5" y="66"/>
                  </a:lnTo>
                  <a:lnTo>
                    <a:pt x="165" y="66"/>
                  </a:lnTo>
                  <a:lnTo>
                    <a:pt x="165" y="70"/>
                  </a:lnTo>
                  <a:lnTo>
                    <a:pt x="167" y="72"/>
                  </a:lnTo>
                  <a:lnTo>
                    <a:pt x="167" y="72"/>
                  </a:lnTo>
                  <a:lnTo>
                    <a:pt x="171" y="74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5" y="72"/>
                  </a:lnTo>
                  <a:lnTo>
                    <a:pt x="173" y="68"/>
                  </a:lnTo>
                  <a:lnTo>
                    <a:pt x="173" y="68"/>
                  </a:lnTo>
                  <a:lnTo>
                    <a:pt x="169" y="63"/>
                  </a:lnTo>
                  <a:lnTo>
                    <a:pt x="167" y="59"/>
                  </a:lnTo>
                  <a:lnTo>
                    <a:pt x="167" y="53"/>
                  </a:lnTo>
                  <a:lnTo>
                    <a:pt x="167" y="53"/>
                  </a:lnTo>
                  <a:lnTo>
                    <a:pt x="167" y="53"/>
                  </a:lnTo>
                  <a:lnTo>
                    <a:pt x="167" y="53"/>
                  </a:lnTo>
                  <a:lnTo>
                    <a:pt x="165" y="55"/>
                  </a:lnTo>
                  <a:lnTo>
                    <a:pt x="165" y="55"/>
                  </a:lnTo>
                  <a:lnTo>
                    <a:pt x="162" y="53"/>
                  </a:lnTo>
                  <a:lnTo>
                    <a:pt x="162" y="53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65" y="49"/>
                  </a:lnTo>
                  <a:lnTo>
                    <a:pt x="165" y="47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69" y="46"/>
                  </a:lnTo>
                  <a:lnTo>
                    <a:pt x="169" y="44"/>
                  </a:lnTo>
                  <a:lnTo>
                    <a:pt x="169" y="44"/>
                  </a:lnTo>
                  <a:lnTo>
                    <a:pt x="167" y="40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3" y="34"/>
                  </a:lnTo>
                  <a:lnTo>
                    <a:pt x="175" y="21"/>
                  </a:lnTo>
                  <a:lnTo>
                    <a:pt x="175" y="21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8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5" y="36"/>
                  </a:lnTo>
                  <a:lnTo>
                    <a:pt x="175" y="36"/>
                  </a:lnTo>
                  <a:close/>
                  <a:moveTo>
                    <a:pt x="308" y="383"/>
                  </a:moveTo>
                  <a:lnTo>
                    <a:pt x="308" y="383"/>
                  </a:lnTo>
                  <a:lnTo>
                    <a:pt x="293" y="383"/>
                  </a:lnTo>
                  <a:lnTo>
                    <a:pt x="293" y="383"/>
                  </a:lnTo>
                  <a:lnTo>
                    <a:pt x="282" y="379"/>
                  </a:lnTo>
                  <a:lnTo>
                    <a:pt x="282" y="379"/>
                  </a:lnTo>
                  <a:lnTo>
                    <a:pt x="278" y="379"/>
                  </a:lnTo>
                  <a:lnTo>
                    <a:pt x="274" y="377"/>
                  </a:lnTo>
                  <a:lnTo>
                    <a:pt x="274" y="377"/>
                  </a:lnTo>
                  <a:lnTo>
                    <a:pt x="266" y="371"/>
                  </a:lnTo>
                  <a:lnTo>
                    <a:pt x="262" y="367"/>
                  </a:lnTo>
                  <a:lnTo>
                    <a:pt x="261" y="362"/>
                  </a:lnTo>
                  <a:lnTo>
                    <a:pt x="261" y="362"/>
                  </a:lnTo>
                  <a:lnTo>
                    <a:pt x="259" y="352"/>
                  </a:lnTo>
                  <a:lnTo>
                    <a:pt x="259" y="348"/>
                  </a:lnTo>
                  <a:lnTo>
                    <a:pt x="259" y="343"/>
                  </a:lnTo>
                  <a:lnTo>
                    <a:pt x="259" y="343"/>
                  </a:lnTo>
                  <a:lnTo>
                    <a:pt x="262" y="335"/>
                  </a:lnTo>
                  <a:lnTo>
                    <a:pt x="268" y="331"/>
                  </a:lnTo>
                  <a:lnTo>
                    <a:pt x="274" y="327"/>
                  </a:lnTo>
                  <a:lnTo>
                    <a:pt x="282" y="327"/>
                  </a:lnTo>
                  <a:lnTo>
                    <a:pt x="282" y="327"/>
                  </a:lnTo>
                  <a:lnTo>
                    <a:pt x="293" y="327"/>
                  </a:lnTo>
                  <a:lnTo>
                    <a:pt x="304" y="326"/>
                  </a:lnTo>
                  <a:lnTo>
                    <a:pt x="304" y="326"/>
                  </a:lnTo>
                  <a:lnTo>
                    <a:pt x="325" y="322"/>
                  </a:lnTo>
                  <a:lnTo>
                    <a:pt x="325" y="322"/>
                  </a:lnTo>
                  <a:lnTo>
                    <a:pt x="352" y="314"/>
                  </a:lnTo>
                  <a:lnTo>
                    <a:pt x="365" y="308"/>
                  </a:lnTo>
                  <a:lnTo>
                    <a:pt x="379" y="301"/>
                  </a:lnTo>
                  <a:lnTo>
                    <a:pt x="379" y="301"/>
                  </a:lnTo>
                  <a:lnTo>
                    <a:pt x="396" y="287"/>
                  </a:lnTo>
                  <a:lnTo>
                    <a:pt x="413" y="274"/>
                  </a:lnTo>
                  <a:lnTo>
                    <a:pt x="413" y="274"/>
                  </a:lnTo>
                  <a:lnTo>
                    <a:pt x="415" y="268"/>
                  </a:lnTo>
                  <a:lnTo>
                    <a:pt x="413" y="265"/>
                  </a:lnTo>
                  <a:lnTo>
                    <a:pt x="413" y="265"/>
                  </a:lnTo>
                  <a:lnTo>
                    <a:pt x="413" y="263"/>
                  </a:lnTo>
                  <a:lnTo>
                    <a:pt x="411" y="261"/>
                  </a:lnTo>
                  <a:lnTo>
                    <a:pt x="411" y="261"/>
                  </a:lnTo>
                  <a:lnTo>
                    <a:pt x="405" y="257"/>
                  </a:lnTo>
                  <a:lnTo>
                    <a:pt x="402" y="255"/>
                  </a:lnTo>
                  <a:lnTo>
                    <a:pt x="396" y="247"/>
                  </a:lnTo>
                  <a:lnTo>
                    <a:pt x="396" y="247"/>
                  </a:lnTo>
                  <a:lnTo>
                    <a:pt x="384" y="240"/>
                  </a:lnTo>
                  <a:lnTo>
                    <a:pt x="373" y="232"/>
                  </a:lnTo>
                  <a:lnTo>
                    <a:pt x="373" y="232"/>
                  </a:lnTo>
                  <a:lnTo>
                    <a:pt x="365" y="230"/>
                  </a:lnTo>
                  <a:lnTo>
                    <a:pt x="360" y="226"/>
                  </a:lnTo>
                  <a:lnTo>
                    <a:pt x="358" y="219"/>
                  </a:lnTo>
                  <a:lnTo>
                    <a:pt x="356" y="211"/>
                  </a:lnTo>
                  <a:lnTo>
                    <a:pt x="356" y="211"/>
                  </a:lnTo>
                  <a:lnTo>
                    <a:pt x="356" y="194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52" y="167"/>
                  </a:lnTo>
                  <a:lnTo>
                    <a:pt x="348" y="156"/>
                  </a:lnTo>
                  <a:lnTo>
                    <a:pt x="348" y="156"/>
                  </a:lnTo>
                  <a:lnTo>
                    <a:pt x="342" y="150"/>
                  </a:lnTo>
                  <a:lnTo>
                    <a:pt x="337" y="146"/>
                  </a:lnTo>
                  <a:lnTo>
                    <a:pt x="329" y="146"/>
                  </a:lnTo>
                  <a:lnTo>
                    <a:pt x="322" y="150"/>
                  </a:lnTo>
                  <a:lnTo>
                    <a:pt x="322" y="150"/>
                  </a:lnTo>
                  <a:lnTo>
                    <a:pt x="314" y="156"/>
                  </a:lnTo>
                  <a:lnTo>
                    <a:pt x="308" y="164"/>
                  </a:lnTo>
                  <a:lnTo>
                    <a:pt x="308" y="164"/>
                  </a:lnTo>
                  <a:lnTo>
                    <a:pt x="297" y="169"/>
                  </a:lnTo>
                  <a:lnTo>
                    <a:pt x="285" y="173"/>
                  </a:lnTo>
                  <a:lnTo>
                    <a:pt x="274" y="173"/>
                  </a:lnTo>
                  <a:lnTo>
                    <a:pt x="262" y="171"/>
                  </a:lnTo>
                  <a:lnTo>
                    <a:pt x="262" y="171"/>
                  </a:lnTo>
                  <a:lnTo>
                    <a:pt x="249" y="171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2" y="173"/>
                  </a:lnTo>
                  <a:lnTo>
                    <a:pt x="228" y="173"/>
                  </a:lnTo>
                  <a:lnTo>
                    <a:pt x="224" y="173"/>
                  </a:lnTo>
                  <a:lnTo>
                    <a:pt x="221" y="177"/>
                  </a:lnTo>
                  <a:lnTo>
                    <a:pt x="221" y="177"/>
                  </a:lnTo>
                  <a:lnTo>
                    <a:pt x="215" y="181"/>
                  </a:lnTo>
                  <a:lnTo>
                    <a:pt x="209" y="186"/>
                  </a:lnTo>
                  <a:lnTo>
                    <a:pt x="209" y="186"/>
                  </a:lnTo>
                  <a:lnTo>
                    <a:pt x="203" y="192"/>
                  </a:lnTo>
                  <a:lnTo>
                    <a:pt x="200" y="200"/>
                  </a:lnTo>
                  <a:lnTo>
                    <a:pt x="198" y="207"/>
                  </a:lnTo>
                  <a:lnTo>
                    <a:pt x="196" y="215"/>
                  </a:lnTo>
                  <a:lnTo>
                    <a:pt x="196" y="215"/>
                  </a:lnTo>
                  <a:lnTo>
                    <a:pt x="194" y="228"/>
                  </a:lnTo>
                  <a:lnTo>
                    <a:pt x="194" y="236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202" y="253"/>
                  </a:lnTo>
                  <a:lnTo>
                    <a:pt x="207" y="263"/>
                  </a:lnTo>
                  <a:lnTo>
                    <a:pt x="207" y="263"/>
                  </a:lnTo>
                  <a:lnTo>
                    <a:pt x="211" y="266"/>
                  </a:lnTo>
                  <a:lnTo>
                    <a:pt x="213" y="268"/>
                  </a:lnTo>
                  <a:lnTo>
                    <a:pt x="221" y="274"/>
                  </a:lnTo>
                  <a:lnTo>
                    <a:pt x="221" y="274"/>
                  </a:lnTo>
                  <a:lnTo>
                    <a:pt x="228" y="280"/>
                  </a:lnTo>
                  <a:lnTo>
                    <a:pt x="234" y="282"/>
                  </a:lnTo>
                  <a:lnTo>
                    <a:pt x="238" y="282"/>
                  </a:lnTo>
                  <a:lnTo>
                    <a:pt x="238" y="282"/>
                  </a:lnTo>
                  <a:lnTo>
                    <a:pt x="242" y="282"/>
                  </a:lnTo>
                  <a:lnTo>
                    <a:pt x="245" y="284"/>
                  </a:lnTo>
                  <a:lnTo>
                    <a:pt x="245" y="284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45" y="287"/>
                  </a:lnTo>
                  <a:lnTo>
                    <a:pt x="245" y="287"/>
                  </a:lnTo>
                  <a:lnTo>
                    <a:pt x="238" y="293"/>
                  </a:lnTo>
                  <a:lnTo>
                    <a:pt x="238" y="293"/>
                  </a:lnTo>
                  <a:lnTo>
                    <a:pt x="228" y="297"/>
                  </a:lnTo>
                  <a:lnTo>
                    <a:pt x="221" y="305"/>
                  </a:lnTo>
                  <a:lnTo>
                    <a:pt x="215" y="312"/>
                  </a:lnTo>
                  <a:lnTo>
                    <a:pt x="209" y="322"/>
                  </a:lnTo>
                  <a:lnTo>
                    <a:pt x="209" y="322"/>
                  </a:lnTo>
                  <a:lnTo>
                    <a:pt x="207" y="327"/>
                  </a:lnTo>
                  <a:lnTo>
                    <a:pt x="207" y="335"/>
                  </a:lnTo>
                  <a:lnTo>
                    <a:pt x="207" y="335"/>
                  </a:lnTo>
                  <a:lnTo>
                    <a:pt x="207" y="337"/>
                  </a:lnTo>
                  <a:lnTo>
                    <a:pt x="207" y="337"/>
                  </a:lnTo>
                  <a:lnTo>
                    <a:pt x="209" y="335"/>
                  </a:lnTo>
                  <a:lnTo>
                    <a:pt x="209" y="335"/>
                  </a:lnTo>
                  <a:lnTo>
                    <a:pt x="209" y="329"/>
                  </a:lnTo>
                  <a:lnTo>
                    <a:pt x="213" y="327"/>
                  </a:lnTo>
                  <a:lnTo>
                    <a:pt x="213" y="327"/>
                  </a:lnTo>
                  <a:lnTo>
                    <a:pt x="213" y="335"/>
                  </a:lnTo>
                  <a:lnTo>
                    <a:pt x="213" y="335"/>
                  </a:lnTo>
                  <a:lnTo>
                    <a:pt x="213" y="339"/>
                  </a:lnTo>
                  <a:lnTo>
                    <a:pt x="211" y="343"/>
                  </a:lnTo>
                  <a:lnTo>
                    <a:pt x="211" y="343"/>
                  </a:lnTo>
                  <a:lnTo>
                    <a:pt x="213" y="345"/>
                  </a:lnTo>
                  <a:lnTo>
                    <a:pt x="213" y="345"/>
                  </a:lnTo>
                  <a:lnTo>
                    <a:pt x="219" y="346"/>
                  </a:lnTo>
                  <a:lnTo>
                    <a:pt x="219" y="348"/>
                  </a:lnTo>
                  <a:lnTo>
                    <a:pt x="219" y="348"/>
                  </a:lnTo>
                  <a:lnTo>
                    <a:pt x="219" y="356"/>
                  </a:lnTo>
                  <a:lnTo>
                    <a:pt x="221" y="364"/>
                  </a:lnTo>
                  <a:lnTo>
                    <a:pt x="224" y="377"/>
                  </a:lnTo>
                  <a:lnTo>
                    <a:pt x="224" y="377"/>
                  </a:lnTo>
                  <a:lnTo>
                    <a:pt x="224" y="379"/>
                  </a:lnTo>
                  <a:lnTo>
                    <a:pt x="224" y="379"/>
                  </a:lnTo>
                  <a:lnTo>
                    <a:pt x="226" y="377"/>
                  </a:lnTo>
                  <a:lnTo>
                    <a:pt x="226" y="377"/>
                  </a:lnTo>
                  <a:lnTo>
                    <a:pt x="226" y="373"/>
                  </a:lnTo>
                  <a:lnTo>
                    <a:pt x="226" y="373"/>
                  </a:lnTo>
                  <a:lnTo>
                    <a:pt x="228" y="375"/>
                  </a:lnTo>
                  <a:lnTo>
                    <a:pt x="228" y="375"/>
                  </a:lnTo>
                  <a:lnTo>
                    <a:pt x="230" y="381"/>
                  </a:lnTo>
                  <a:lnTo>
                    <a:pt x="230" y="381"/>
                  </a:lnTo>
                  <a:lnTo>
                    <a:pt x="236" y="396"/>
                  </a:lnTo>
                  <a:lnTo>
                    <a:pt x="245" y="411"/>
                  </a:lnTo>
                  <a:lnTo>
                    <a:pt x="245" y="411"/>
                  </a:lnTo>
                  <a:lnTo>
                    <a:pt x="247" y="413"/>
                  </a:lnTo>
                  <a:lnTo>
                    <a:pt x="247" y="413"/>
                  </a:lnTo>
                  <a:lnTo>
                    <a:pt x="247" y="411"/>
                  </a:lnTo>
                  <a:lnTo>
                    <a:pt x="247" y="411"/>
                  </a:lnTo>
                  <a:lnTo>
                    <a:pt x="249" y="409"/>
                  </a:lnTo>
                  <a:lnTo>
                    <a:pt x="249" y="409"/>
                  </a:lnTo>
                  <a:lnTo>
                    <a:pt x="255" y="415"/>
                  </a:lnTo>
                  <a:lnTo>
                    <a:pt x="261" y="419"/>
                  </a:lnTo>
                  <a:lnTo>
                    <a:pt x="266" y="421"/>
                  </a:lnTo>
                  <a:lnTo>
                    <a:pt x="272" y="426"/>
                  </a:lnTo>
                  <a:lnTo>
                    <a:pt x="272" y="426"/>
                  </a:lnTo>
                  <a:lnTo>
                    <a:pt x="272" y="428"/>
                  </a:lnTo>
                  <a:lnTo>
                    <a:pt x="274" y="426"/>
                  </a:lnTo>
                  <a:lnTo>
                    <a:pt x="276" y="426"/>
                  </a:lnTo>
                  <a:lnTo>
                    <a:pt x="276" y="426"/>
                  </a:lnTo>
                  <a:lnTo>
                    <a:pt x="278" y="426"/>
                  </a:lnTo>
                  <a:lnTo>
                    <a:pt x="280" y="426"/>
                  </a:lnTo>
                  <a:lnTo>
                    <a:pt x="280" y="426"/>
                  </a:lnTo>
                  <a:lnTo>
                    <a:pt x="287" y="428"/>
                  </a:lnTo>
                  <a:lnTo>
                    <a:pt x="293" y="430"/>
                  </a:lnTo>
                  <a:lnTo>
                    <a:pt x="306" y="432"/>
                  </a:lnTo>
                  <a:lnTo>
                    <a:pt x="306" y="432"/>
                  </a:lnTo>
                  <a:lnTo>
                    <a:pt x="312" y="434"/>
                  </a:lnTo>
                  <a:lnTo>
                    <a:pt x="320" y="432"/>
                  </a:lnTo>
                  <a:lnTo>
                    <a:pt x="335" y="428"/>
                  </a:lnTo>
                  <a:lnTo>
                    <a:pt x="335" y="428"/>
                  </a:lnTo>
                  <a:lnTo>
                    <a:pt x="352" y="423"/>
                  </a:lnTo>
                  <a:lnTo>
                    <a:pt x="369" y="413"/>
                  </a:lnTo>
                  <a:lnTo>
                    <a:pt x="369" y="413"/>
                  </a:lnTo>
                  <a:lnTo>
                    <a:pt x="384" y="404"/>
                  </a:lnTo>
                  <a:lnTo>
                    <a:pt x="398" y="392"/>
                  </a:lnTo>
                  <a:lnTo>
                    <a:pt x="398" y="392"/>
                  </a:lnTo>
                  <a:lnTo>
                    <a:pt x="403" y="385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15" y="366"/>
                  </a:lnTo>
                  <a:lnTo>
                    <a:pt x="421" y="354"/>
                  </a:lnTo>
                  <a:lnTo>
                    <a:pt x="430" y="331"/>
                  </a:lnTo>
                  <a:lnTo>
                    <a:pt x="430" y="331"/>
                  </a:lnTo>
                  <a:lnTo>
                    <a:pt x="432" y="327"/>
                  </a:lnTo>
                  <a:lnTo>
                    <a:pt x="430" y="324"/>
                  </a:lnTo>
                  <a:lnTo>
                    <a:pt x="428" y="322"/>
                  </a:lnTo>
                  <a:lnTo>
                    <a:pt x="422" y="320"/>
                  </a:lnTo>
                  <a:lnTo>
                    <a:pt x="422" y="320"/>
                  </a:lnTo>
                  <a:lnTo>
                    <a:pt x="421" y="320"/>
                  </a:lnTo>
                  <a:lnTo>
                    <a:pt x="419" y="318"/>
                  </a:lnTo>
                  <a:lnTo>
                    <a:pt x="419" y="318"/>
                  </a:lnTo>
                  <a:lnTo>
                    <a:pt x="413" y="310"/>
                  </a:lnTo>
                  <a:lnTo>
                    <a:pt x="411" y="306"/>
                  </a:lnTo>
                  <a:lnTo>
                    <a:pt x="411" y="301"/>
                  </a:lnTo>
                  <a:lnTo>
                    <a:pt x="411" y="301"/>
                  </a:lnTo>
                  <a:lnTo>
                    <a:pt x="411" y="297"/>
                  </a:lnTo>
                  <a:lnTo>
                    <a:pt x="411" y="297"/>
                  </a:lnTo>
                  <a:lnTo>
                    <a:pt x="407" y="291"/>
                  </a:lnTo>
                  <a:lnTo>
                    <a:pt x="407" y="291"/>
                  </a:lnTo>
                  <a:lnTo>
                    <a:pt x="403" y="293"/>
                  </a:lnTo>
                  <a:lnTo>
                    <a:pt x="403" y="293"/>
                  </a:lnTo>
                  <a:lnTo>
                    <a:pt x="390" y="303"/>
                  </a:lnTo>
                  <a:lnTo>
                    <a:pt x="377" y="310"/>
                  </a:lnTo>
                  <a:lnTo>
                    <a:pt x="377" y="310"/>
                  </a:lnTo>
                  <a:lnTo>
                    <a:pt x="354" y="324"/>
                  </a:lnTo>
                  <a:lnTo>
                    <a:pt x="341" y="327"/>
                  </a:lnTo>
                  <a:lnTo>
                    <a:pt x="327" y="329"/>
                  </a:lnTo>
                  <a:lnTo>
                    <a:pt x="327" y="329"/>
                  </a:lnTo>
                  <a:lnTo>
                    <a:pt x="323" y="331"/>
                  </a:lnTo>
                  <a:lnTo>
                    <a:pt x="318" y="331"/>
                  </a:lnTo>
                  <a:lnTo>
                    <a:pt x="314" y="331"/>
                  </a:lnTo>
                  <a:lnTo>
                    <a:pt x="310" y="333"/>
                  </a:lnTo>
                  <a:lnTo>
                    <a:pt x="310" y="333"/>
                  </a:lnTo>
                  <a:lnTo>
                    <a:pt x="306" y="333"/>
                  </a:lnTo>
                  <a:lnTo>
                    <a:pt x="302" y="335"/>
                  </a:lnTo>
                  <a:lnTo>
                    <a:pt x="293" y="333"/>
                  </a:lnTo>
                  <a:lnTo>
                    <a:pt x="293" y="333"/>
                  </a:lnTo>
                  <a:lnTo>
                    <a:pt x="283" y="333"/>
                  </a:lnTo>
                  <a:lnTo>
                    <a:pt x="283" y="333"/>
                  </a:lnTo>
                  <a:lnTo>
                    <a:pt x="276" y="335"/>
                  </a:lnTo>
                  <a:lnTo>
                    <a:pt x="270" y="339"/>
                  </a:lnTo>
                  <a:lnTo>
                    <a:pt x="270" y="339"/>
                  </a:lnTo>
                  <a:lnTo>
                    <a:pt x="268" y="343"/>
                  </a:lnTo>
                  <a:lnTo>
                    <a:pt x="266" y="345"/>
                  </a:lnTo>
                  <a:lnTo>
                    <a:pt x="266" y="350"/>
                  </a:lnTo>
                  <a:lnTo>
                    <a:pt x="266" y="350"/>
                  </a:lnTo>
                  <a:lnTo>
                    <a:pt x="266" y="356"/>
                  </a:lnTo>
                  <a:lnTo>
                    <a:pt x="268" y="360"/>
                  </a:lnTo>
                  <a:lnTo>
                    <a:pt x="268" y="360"/>
                  </a:lnTo>
                  <a:lnTo>
                    <a:pt x="274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5" y="375"/>
                  </a:lnTo>
                  <a:lnTo>
                    <a:pt x="295" y="375"/>
                  </a:lnTo>
                  <a:lnTo>
                    <a:pt x="310" y="375"/>
                  </a:lnTo>
                  <a:lnTo>
                    <a:pt x="327" y="373"/>
                  </a:lnTo>
                  <a:lnTo>
                    <a:pt x="327" y="373"/>
                  </a:lnTo>
                  <a:lnTo>
                    <a:pt x="350" y="367"/>
                  </a:lnTo>
                  <a:lnTo>
                    <a:pt x="371" y="360"/>
                  </a:lnTo>
                  <a:lnTo>
                    <a:pt x="371" y="360"/>
                  </a:lnTo>
                  <a:lnTo>
                    <a:pt x="375" y="356"/>
                  </a:lnTo>
                  <a:lnTo>
                    <a:pt x="381" y="354"/>
                  </a:lnTo>
                  <a:lnTo>
                    <a:pt x="386" y="352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403" y="339"/>
                  </a:lnTo>
                  <a:lnTo>
                    <a:pt x="411" y="333"/>
                  </a:lnTo>
                  <a:lnTo>
                    <a:pt x="417" y="327"/>
                  </a:lnTo>
                  <a:lnTo>
                    <a:pt x="417" y="327"/>
                  </a:lnTo>
                  <a:lnTo>
                    <a:pt x="419" y="327"/>
                  </a:lnTo>
                  <a:lnTo>
                    <a:pt x="419" y="327"/>
                  </a:lnTo>
                  <a:lnTo>
                    <a:pt x="419" y="329"/>
                  </a:lnTo>
                  <a:lnTo>
                    <a:pt x="419" y="329"/>
                  </a:lnTo>
                  <a:lnTo>
                    <a:pt x="409" y="343"/>
                  </a:lnTo>
                  <a:lnTo>
                    <a:pt x="409" y="343"/>
                  </a:lnTo>
                  <a:lnTo>
                    <a:pt x="400" y="350"/>
                  </a:lnTo>
                  <a:lnTo>
                    <a:pt x="388" y="358"/>
                  </a:lnTo>
                  <a:lnTo>
                    <a:pt x="375" y="366"/>
                  </a:lnTo>
                  <a:lnTo>
                    <a:pt x="362" y="371"/>
                  </a:lnTo>
                  <a:lnTo>
                    <a:pt x="362" y="371"/>
                  </a:lnTo>
                  <a:lnTo>
                    <a:pt x="335" y="379"/>
                  </a:lnTo>
                  <a:lnTo>
                    <a:pt x="322" y="381"/>
                  </a:lnTo>
                  <a:lnTo>
                    <a:pt x="308" y="383"/>
                  </a:lnTo>
                  <a:lnTo>
                    <a:pt x="308" y="383"/>
                  </a:lnTo>
                  <a:close/>
                  <a:moveTo>
                    <a:pt x="106" y="331"/>
                  </a:moveTo>
                  <a:lnTo>
                    <a:pt x="106" y="331"/>
                  </a:lnTo>
                  <a:lnTo>
                    <a:pt x="114" y="331"/>
                  </a:lnTo>
                  <a:lnTo>
                    <a:pt x="114" y="331"/>
                  </a:lnTo>
                  <a:lnTo>
                    <a:pt x="118" y="329"/>
                  </a:lnTo>
                  <a:lnTo>
                    <a:pt x="120" y="326"/>
                  </a:lnTo>
                  <a:lnTo>
                    <a:pt x="120" y="326"/>
                  </a:lnTo>
                  <a:lnTo>
                    <a:pt x="120" y="320"/>
                  </a:lnTo>
                  <a:lnTo>
                    <a:pt x="120" y="320"/>
                  </a:lnTo>
                  <a:lnTo>
                    <a:pt x="116" y="322"/>
                  </a:lnTo>
                  <a:lnTo>
                    <a:pt x="116" y="322"/>
                  </a:lnTo>
                  <a:lnTo>
                    <a:pt x="116" y="318"/>
                  </a:lnTo>
                  <a:lnTo>
                    <a:pt x="114" y="316"/>
                  </a:lnTo>
                  <a:lnTo>
                    <a:pt x="112" y="314"/>
                  </a:lnTo>
                  <a:lnTo>
                    <a:pt x="114" y="310"/>
                  </a:lnTo>
                  <a:lnTo>
                    <a:pt x="114" y="310"/>
                  </a:lnTo>
                  <a:lnTo>
                    <a:pt x="116" y="306"/>
                  </a:lnTo>
                  <a:lnTo>
                    <a:pt x="116" y="303"/>
                  </a:lnTo>
                  <a:lnTo>
                    <a:pt x="116" y="303"/>
                  </a:lnTo>
                  <a:lnTo>
                    <a:pt x="114" y="301"/>
                  </a:lnTo>
                  <a:lnTo>
                    <a:pt x="114" y="301"/>
                  </a:lnTo>
                  <a:lnTo>
                    <a:pt x="112" y="303"/>
                  </a:lnTo>
                  <a:lnTo>
                    <a:pt x="112" y="303"/>
                  </a:lnTo>
                  <a:lnTo>
                    <a:pt x="110" y="305"/>
                  </a:lnTo>
                  <a:lnTo>
                    <a:pt x="110" y="305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10" y="297"/>
                  </a:lnTo>
                  <a:lnTo>
                    <a:pt x="110" y="297"/>
                  </a:lnTo>
                  <a:lnTo>
                    <a:pt x="112" y="284"/>
                  </a:lnTo>
                  <a:lnTo>
                    <a:pt x="112" y="284"/>
                  </a:lnTo>
                  <a:lnTo>
                    <a:pt x="114" y="278"/>
                  </a:lnTo>
                  <a:lnTo>
                    <a:pt x="112" y="274"/>
                  </a:lnTo>
                  <a:lnTo>
                    <a:pt x="108" y="272"/>
                  </a:lnTo>
                  <a:lnTo>
                    <a:pt x="102" y="272"/>
                  </a:lnTo>
                  <a:lnTo>
                    <a:pt x="102" y="272"/>
                  </a:lnTo>
                  <a:lnTo>
                    <a:pt x="99" y="272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85" y="278"/>
                  </a:lnTo>
                  <a:lnTo>
                    <a:pt x="82" y="282"/>
                  </a:lnTo>
                  <a:lnTo>
                    <a:pt x="78" y="287"/>
                  </a:lnTo>
                  <a:lnTo>
                    <a:pt x="76" y="295"/>
                  </a:lnTo>
                  <a:lnTo>
                    <a:pt x="76" y="295"/>
                  </a:lnTo>
                  <a:lnTo>
                    <a:pt x="74" y="305"/>
                  </a:lnTo>
                  <a:lnTo>
                    <a:pt x="76" y="314"/>
                  </a:lnTo>
                  <a:lnTo>
                    <a:pt x="82" y="322"/>
                  </a:lnTo>
                  <a:lnTo>
                    <a:pt x="89" y="327"/>
                  </a:lnTo>
                  <a:lnTo>
                    <a:pt x="89" y="327"/>
                  </a:lnTo>
                  <a:lnTo>
                    <a:pt x="97" y="331"/>
                  </a:lnTo>
                  <a:lnTo>
                    <a:pt x="106" y="331"/>
                  </a:lnTo>
                  <a:lnTo>
                    <a:pt x="106" y="331"/>
                  </a:lnTo>
                  <a:close/>
                  <a:moveTo>
                    <a:pt x="306" y="13"/>
                  </a:moveTo>
                  <a:lnTo>
                    <a:pt x="306" y="13"/>
                  </a:lnTo>
                  <a:lnTo>
                    <a:pt x="301" y="13"/>
                  </a:lnTo>
                  <a:lnTo>
                    <a:pt x="301" y="13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55" y="32"/>
                  </a:lnTo>
                  <a:lnTo>
                    <a:pt x="249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2" y="36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38" y="44"/>
                  </a:lnTo>
                  <a:lnTo>
                    <a:pt x="234" y="46"/>
                  </a:lnTo>
                  <a:lnTo>
                    <a:pt x="234" y="46"/>
                  </a:lnTo>
                  <a:lnTo>
                    <a:pt x="226" y="51"/>
                  </a:lnTo>
                  <a:lnTo>
                    <a:pt x="217" y="57"/>
                  </a:lnTo>
                  <a:lnTo>
                    <a:pt x="217" y="57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75" y="99"/>
                  </a:lnTo>
                  <a:lnTo>
                    <a:pt x="152" y="122"/>
                  </a:lnTo>
                  <a:lnTo>
                    <a:pt x="152" y="122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4" y="127"/>
                  </a:lnTo>
                  <a:lnTo>
                    <a:pt x="154" y="127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82" y="99"/>
                  </a:lnTo>
                  <a:lnTo>
                    <a:pt x="196" y="86"/>
                  </a:lnTo>
                  <a:lnTo>
                    <a:pt x="209" y="72"/>
                  </a:lnTo>
                  <a:lnTo>
                    <a:pt x="209" y="72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59" y="38"/>
                  </a:lnTo>
                  <a:lnTo>
                    <a:pt x="274" y="30"/>
                  </a:lnTo>
                  <a:lnTo>
                    <a:pt x="287" y="23"/>
                  </a:lnTo>
                  <a:lnTo>
                    <a:pt x="287" y="23"/>
                  </a:lnTo>
                  <a:lnTo>
                    <a:pt x="299" y="19"/>
                  </a:lnTo>
                  <a:lnTo>
                    <a:pt x="304" y="17"/>
                  </a:lnTo>
                  <a:lnTo>
                    <a:pt x="310" y="17"/>
                  </a:lnTo>
                  <a:lnTo>
                    <a:pt x="310" y="17"/>
                  </a:lnTo>
                  <a:lnTo>
                    <a:pt x="312" y="17"/>
                  </a:lnTo>
                  <a:lnTo>
                    <a:pt x="312" y="17"/>
                  </a:lnTo>
                  <a:lnTo>
                    <a:pt x="312" y="15"/>
                  </a:lnTo>
                  <a:lnTo>
                    <a:pt x="312" y="15"/>
                  </a:lnTo>
                  <a:lnTo>
                    <a:pt x="310" y="13"/>
                  </a:lnTo>
                  <a:lnTo>
                    <a:pt x="310" y="13"/>
                  </a:lnTo>
                  <a:lnTo>
                    <a:pt x="306" y="13"/>
                  </a:lnTo>
                  <a:lnTo>
                    <a:pt x="306" y="13"/>
                  </a:lnTo>
                  <a:close/>
                  <a:moveTo>
                    <a:pt x="162" y="82"/>
                  </a:moveTo>
                  <a:lnTo>
                    <a:pt x="162" y="82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4" y="82"/>
                  </a:lnTo>
                  <a:lnTo>
                    <a:pt x="152" y="82"/>
                  </a:lnTo>
                  <a:lnTo>
                    <a:pt x="146" y="82"/>
                  </a:lnTo>
                  <a:lnTo>
                    <a:pt x="146" y="82"/>
                  </a:lnTo>
                  <a:lnTo>
                    <a:pt x="141" y="86"/>
                  </a:lnTo>
                  <a:lnTo>
                    <a:pt x="137" y="91"/>
                  </a:lnTo>
                  <a:lnTo>
                    <a:pt x="137" y="91"/>
                  </a:lnTo>
                  <a:lnTo>
                    <a:pt x="137" y="95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42" y="99"/>
                  </a:lnTo>
                  <a:lnTo>
                    <a:pt x="144" y="97"/>
                  </a:lnTo>
                  <a:lnTo>
                    <a:pt x="144" y="97"/>
                  </a:lnTo>
                  <a:lnTo>
                    <a:pt x="152" y="89"/>
                  </a:lnTo>
                  <a:lnTo>
                    <a:pt x="160" y="84"/>
                  </a:lnTo>
                  <a:lnTo>
                    <a:pt x="160" y="84"/>
                  </a:lnTo>
                  <a:lnTo>
                    <a:pt x="162" y="82"/>
                  </a:lnTo>
                  <a:lnTo>
                    <a:pt x="162" y="82"/>
                  </a:lnTo>
                  <a:close/>
                  <a:moveTo>
                    <a:pt x="196" y="23"/>
                  </a:moveTo>
                  <a:lnTo>
                    <a:pt x="196" y="23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203" y="19"/>
                  </a:lnTo>
                  <a:lnTo>
                    <a:pt x="203" y="19"/>
                  </a:lnTo>
                  <a:lnTo>
                    <a:pt x="196" y="23"/>
                  </a:lnTo>
                  <a:lnTo>
                    <a:pt x="196" y="23"/>
                  </a:lnTo>
                  <a:close/>
                  <a:moveTo>
                    <a:pt x="120" y="66"/>
                  </a:moveTo>
                  <a:lnTo>
                    <a:pt x="120" y="66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20" y="66"/>
                  </a:lnTo>
                  <a:lnTo>
                    <a:pt x="12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9" name="Freeform 144"/>
            <p:cNvSpPr>
              <a:spLocks/>
            </p:cNvSpPr>
            <p:nvPr/>
          </p:nvSpPr>
          <p:spPr bwMode="auto">
            <a:xfrm>
              <a:off x="4338194" y="2807013"/>
              <a:ext cx="46195" cy="29397"/>
            </a:xfrm>
            <a:custGeom>
              <a:avLst/>
              <a:gdLst>
                <a:gd name="T0" fmla="*/ 35 w 44"/>
                <a:gd name="T1" fmla="*/ 17 h 28"/>
                <a:gd name="T2" fmla="*/ 35 w 44"/>
                <a:gd name="T3" fmla="*/ 17 h 28"/>
                <a:gd name="T4" fmla="*/ 27 w 44"/>
                <a:gd name="T5" fmla="*/ 17 h 28"/>
                <a:gd name="T6" fmla="*/ 19 w 44"/>
                <a:gd name="T7" fmla="*/ 19 h 28"/>
                <a:gd name="T8" fmla="*/ 12 w 44"/>
                <a:gd name="T9" fmla="*/ 21 h 28"/>
                <a:gd name="T10" fmla="*/ 6 w 44"/>
                <a:gd name="T11" fmla="*/ 25 h 28"/>
                <a:gd name="T12" fmla="*/ 6 w 44"/>
                <a:gd name="T13" fmla="*/ 25 h 28"/>
                <a:gd name="T14" fmla="*/ 2 w 44"/>
                <a:gd name="T15" fmla="*/ 28 h 28"/>
                <a:gd name="T16" fmla="*/ 2 w 44"/>
                <a:gd name="T17" fmla="*/ 28 h 28"/>
                <a:gd name="T18" fmla="*/ 0 w 44"/>
                <a:gd name="T19" fmla="*/ 26 h 28"/>
                <a:gd name="T20" fmla="*/ 0 w 44"/>
                <a:gd name="T21" fmla="*/ 26 h 28"/>
                <a:gd name="T22" fmla="*/ 0 w 44"/>
                <a:gd name="T23" fmla="*/ 25 h 28"/>
                <a:gd name="T24" fmla="*/ 0 w 44"/>
                <a:gd name="T25" fmla="*/ 21 h 28"/>
                <a:gd name="T26" fmla="*/ 0 w 44"/>
                <a:gd name="T27" fmla="*/ 21 h 28"/>
                <a:gd name="T28" fmla="*/ 6 w 44"/>
                <a:gd name="T29" fmla="*/ 17 h 28"/>
                <a:gd name="T30" fmla="*/ 8 w 44"/>
                <a:gd name="T31" fmla="*/ 13 h 28"/>
                <a:gd name="T32" fmla="*/ 8 w 44"/>
                <a:gd name="T33" fmla="*/ 9 h 28"/>
                <a:gd name="T34" fmla="*/ 8 w 44"/>
                <a:gd name="T35" fmla="*/ 9 h 28"/>
                <a:gd name="T36" fmla="*/ 8 w 44"/>
                <a:gd name="T37" fmla="*/ 7 h 28"/>
                <a:gd name="T38" fmla="*/ 10 w 44"/>
                <a:gd name="T39" fmla="*/ 5 h 28"/>
                <a:gd name="T40" fmla="*/ 10 w 44"/>
                <a:gd name="T41" fmla="*/ 5 h 28"/>
                <a:gd name="T42" fmla="*/ 19 w 44"/>
                <a:gd name="T43" fmla="*/ 0 h 28"/>
                <a:gd name="T44" fmla="*/ 19 w 44"/>
                <a:gd name="T45" fmla="*/ 0 h 28"/>
                <a:gd name="T46" fmla="*/ 23 w 44"/>
                <a:gd name="T47" fmla="*/ 0 h 28"/>
                <a:gd name="T48" fmla="*/ 29 w 44"/>
                <a:gd name="T49" fmla="*/ 0 h 28"/>
                <a:gd name="T50" fmla="*/ 33 w 44"/>
                <a:gd name="T51" fmla="*/ 4 h 28"/>
                <a:gd name="T52" fmla="*/ 37 w 44"/>
                <a:gd name="T53" fmla="*/ 5 h 28"/>
                <a:gd name="T54" fmla="*/ 37 w 44"/>
                <a:gd name="T55" fmla="*/ 5 h 28"/>
                <a:gd name="T56" fmla="*/ 37 w 44"/>
                <a:gd name="T57" fmla="*/ 9 h 28"/>
                <a:gd name="T58" fmla="*/ 37 w 44"/>
                <a:gd name="T59" fmla="*/ 9 h 28"/>
                <a:gd name="T60" fmla="*/ 42 w 44"/>
                <a:gd name="T61" fmla="*/ 11 h 28"/>
                <a:gd name="T62" fmla="*/ 44 w 44"/>
                <a:gd name="T63" fmla="*/ 17 h 28"/>
                <a:gd name="T64" fmla="*/ 44 w 44"/>
                <a:gd name="T65" fmla="*/ 17 h 28"/>
                <a:gd name="T66" fmla="*/ 35 w 44"/>
                <a:gd name="T67" fmla="*/ 17 h 28"/>
                <a:gd name="T68" fmla="*/ 35 w 44"/>
                <a:gd name="T69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" h="28">
                  <a:moveTo>
                    <a:pt x="35" y="17"/>
                  </a:moveTo>
                  <a:lnTo>
                    <a:pt x="35" y="17"/>
                  </a:lnTo>
                  <a:lnTo>
                    <a:pt x="27" y="17"/>
                  </a:lnTo>
                  <a:lnTo>
                    <a:pt x="19" y="19"/>
                  </a:lnTo>
                  <a:lnTo>
                    <a:pt x="12" y="21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6" y="17"/>
                  </a:lnTo>
                  <a:lnTo>
                    <a:pt x="8" y="13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3" y="4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42" y="11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35" y="17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0" name="Freeform 145"/>
            <p:cNvSpPr>
              <a:spLocks/>
            </p:cNvSpPr>
            <p:nvPr/>
          </p:nvSpPr>
          <p:spPr bwMode="auto">
            <a:xfrm>
              <a:off x="4428484" y="2784965"/>
              <a:ext cx="15748" cy="24147"/>
            </a:xfrm>
            <a:custGeom>
              <a:avLst/>
              <a:gdLst>
                <a:gd name="T0" fmla="*/ 0 w 15"/>
                <a:gd name="T1" fmla="*/ 11 h 23"/>
                <a:gd name="T2" fmla="*/ 0 w 15"/>
                <a:gd name="T3" fmla="*/ 11 h 23"/>
                <a:gd name="T4" fmla="*/ 0 w 15"/>
                <a:gd name="T5" fmla="*/ 6 h 23"/>
                <a:gd name="T6" fmla="*/ 0 w 15"/>
                <a:gd name="T7" fmla="*/ 6 h 23"/>
                <a:gd name="T8" fmla="*/ 2 w 15"/>
                <a:gd name="T9" fmla="*/ 2 h 23"/>
                <a:gd name="T10" fmla="*/ 4 w 15"/>
                <a:gd name="T11" fmla="*/ 0 h 23"/>
                <a:gd name="T12" fmla="*/ 4 w 15"/>
                <a:gd name="T13" fmla="*/ 0 h 23"/>
                <a:gd name="T14" fmla="*/ 8 w 15"/>
                <a:gd name="T15" fmla="*/ 0 h 23"/>
                <a:gd name="T16" fmla="*/ 12 w 15"/>
                <a:gd name="T17" fmla="*/ 2 h 23"/>
                <a:gd name="T18" fmla="*/ 12 w 15"/>
                <a:gd name="T19" fmla="*/ 2 h 23"/>
                <a:gd name="T20" fmla="*/ 15 w 15"/>
                <a:gd name="T21" fmla="*/ 11 h 23"/>
                <a:gd name="T22" fmla="*/ 15 w 15"/>
                <a:gd name="T23" fmla="*/ 11 h 23"/>
                <a:gd name="T24" fmla="*/ 15 w 15"/>
                <a:gd name="T25" fmla="*/ 21 h 23"/>
                <a:gd name="T26" fmla="*/ 15 w 15"/>
                <a:gd name="T27" fmla="*/ 21 h 23"/>
                <a:gd name="T28" fmla="*/ 15 w 15"/>
                <a:gd name="T29" fmla="*/ 23 h 23"/>
                <a:gd name="T30" fmla="*/ 15 w 15"/>
                <a:gd name="T31" fmla="*/ 23 h 23"/>
                <a:gd name="T32" fmla="*/ 13 w 15"/>
                <a:gd name="T33" fmla="*/ 23 h 23"/>
                <a:gd name="T34" fmla="*/ 13 w 15"/>
                <a:gd name="T35" fmla="*/ 23 h 23"/>
                <a:gd name="T36" fmla="*/ 10 w 15"/>
                <a:gd name="T37" fmla="*/ 21 h 23"/>
                <a:gd name="T38" fmla="*/ 10 w 15"/>
                <a:gd name="T39" fmla="*/ 21 h 23"/>
                <a:gd name="T40" fmla="*/ 4 w 15"/>
                <a:gd name="T41" fmla="*/ 21 h 23"/>
                <a:gd name="T42" fmla="*/ 2 w 15"/>
                <a:gd name="T43" fmla="*/ 19 h 23"/>
                <a:gd name="T44" fmla="*/ 0 w 15"/>
                <a:gd name="T45" fmla="*/ 17 h 23"/>
                <a:gd name="T46" fmla="*/ 0 w 15"/>
                <a:gd name="T47" fmla="*/ 11 h 23"/>
                <a:gd name="T48" fmla="*/ 0 w 15"/>
                <a:gd name="T4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" h="23">
                  <a:moveTo>
                    <a:pt x="0" y="11"/>
                  </a:move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4" y="21"/>
                  </a:lnTo>
                  <a:lnTo>
                    <a:pt x="2" y="19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1" name="Freeform 146"/>
            <p:cNvSpPr>
              <a:spLocks/>
            </p:cNvSpPr>
            <p:nvPr/>
          </p:nvSpPr>
          <p:spPr bwMode="auto">
            <a:xfrm>
              <a:off x="4320346" y="2776566"/>
              <a:ext cx="26247" cy="32546"/>
            </a:xfrm>
            <a:custGeom>
              <a:avLst/>
              <a:gdLst>
                <a:gd name="T0" fmla="*/ 0 w 25"/>
                <a:gd name="T1" fmla="*/ 25 h 31"/>
                <a:gd name="T2" fmla="*/ 0 w 25"/>
                <a:gd name="T3" fmla="*/ 25 h 31"/>
                <a:gd name="T4" fmla="*/ 2 w 25"/>
                <a:gd name="T5" fmla="*/ 15 h 31"/>
                <a:gd name="T6" fmla="*/ 8 w 25"/>
                <a:gd name="T7" fmla="*/ 8 h 31"/>
                <a:gd name="T8" fmla="*/ 16 w 25"/>
                <a:gd name="T9" fmla="*/ 2 h 31"/>
                <a:gd name="T10" fmla="*/ 23 w 25"/>
                <a:gd name="T11" fmla="*/ 0 h 31"/>
                <a:gd name="T12" fmla="*/ 23 w 25"/>
                <a:gd name="T13" fmla="*/ 0 h 31"/>
                <a:gd name="T14" fmla="*/ 25 w 25"/>
                <a:gd name="T15" fmla="*/ 0 h 31"/>
                <a:gd name="T16" fmla="*/ 25 w 25"/>
                <a:gd name="T17" fmla="*/ 0 h 31"/>
                <a:gd name="T18" fmla="*/ 25 w 25"/>
                <a:gd name="T19" fmla="*/ 2 h 31"/>
                <a:gd name="T20" fmla="*/ 25 w 25"/>
                <a:gd name="T21" fmla="*/ 2 h 31"/>
                <a:gd name="T22" fmla="*/ 10 w 25"/>
                <a:gd name="T23" fmla="*/ 17 h 31"/>
                <a:gd name="T24" fmla="*/ 10 w 25"/>
                <a:gd name="T25" fmla="*/ 17 h 31"/>
                <a:gd name="T26" fmla="*/ 4 w 25"/>
                <a:gd name="T27" fmla="*/ 27 h 31"/>
                <a:gd name="T28" fmla="*/ 4 w 25"/>
                <a:gd name="T29" fmla="*/ 27 h 31"/>
                <a:gd name="T30" fmla="*/ 0 w 25"/>
                <a:gd name="T31" fmla="*/ 31 h 31"/>
                <a:gd name="T32" fmla="*/ 0 w 25"/>
                <a:gd name="T33" fmla="*/ 31 h 31"/>
                <a:gd name="T34" fmla="*/ 0 w 25"/>
                <a:gd name="T35" fmla="*/ 25 h 31"/>
                <a:gd name="T36" fmla="*/ 0 w 25"/>
                <a:gd name="T37" fmla="*/ 25 h 31"/>
                <a:gd name="T38" fmla="*/ 0 w 25"/>
                <a:gd name="T39" fmla="*/ 25 h 31"/>
                <a:gd name="T40" fmla="*/ 0 w 25"/>
                <a:gd name="T41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31">
                  <a:moveTo>
                    <a:pt x="0" y="25"/>
                  </a:moveTo>
                  <a:lnTo>
                    <a:pt x="0" y="25"/>
                  </a:lnTo>
                  <a:lnTo>
                    <a:pt x="2" y="15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2" name="Freeform 147"/>
            <p:cNvSpPr>
              <a:spLocks/>
            </p:cNvSpPr>
            <p:nvPr/>
          </p:nvSpPr>
          <p:spPr bwMode="auto">
            <a:xfrm>
              <a:off x="4416935" y="2826960"/>
              <a:ext cx="11549" cy="11549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0 w 11"/>
                <a:gd name="T5" fmla="*/ 2 h 11"/>
                <a:gd name="T6" fmla="*/ 2 w 11"/>
                <a:gd name="T7" fmla="*/ 0 h 11"/>
                <a:gd name="T8" fmla="*/ 4 w 11"/>
                <a:gd name="T9" fmla="*/ 0 h 11"/>
                <a:gd name="T10" fmla="*/ 4 w 11"/>
                <a:gd name="T11" fmla="*/ 0 h 11"/>
                <a:gd name="T12" fmla="*/ 9 w 11"/>
                <a:gd name="T13" fmla="*/ 4 h 11"/>
                <a:gd name="T14" fmla="*/ 11 w 11"/>
                <a:gd name="T15" fmla="*/ 6 h 11"/>
                <a:gd name="T16" fmla="*/ 11 w 11"/>
                <a:gd name="T17" fmla="*/ 7 h 11"/>
                <a:gd name="T18" fmla="*/ 11 w 11"/>
                <a:gd name="T19" fmla="*/ 7 h 11"/>
                <a:gd name="T20" fmla="*/ 9 w 11"/>
                <a:gd name="T21" fmla="*/ 9 h 11"/>
                <a:gd name="T22" fmla="*/ 7 w 11"/>
                <a:gd name="T23" fmla="*/ 11 h 11"/>
                <a:gd name="T24" fmla="*/ 7 w 11"/>
                <a:gd name="T25" fmla="*/ 11 h 11"/>
                <a:gd name="T26" fmla="*/ 4 w 11"/>
                <a:gd name="T27" fmla="*/ 11 h 11"/>
                <a:gd name="T28" fmla="*/ 2 w 11"/>
                <a:gd name="T29" fmla="*/ 9 h 11"/>
                <a:gd name="T30" fmla="*/ 2 w 11"/>
                <a:gd name="T31" fmla="*/ 9 h 11"/>
                <a:gd name="T32" fmla="*/ 0 w 11"/>
                <a:gd name="T33" fmla="*/ 6 h 11"/>
                <a:gd name="T34" fmla="*/ 0 w 11"/>
                <a:gd name="T3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9" y="4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9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4" y="11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3" name="Freeform 148"/>
            <p:cNvSpPr>
              <a:spLocks/>
            </p:cNvSpPr>
            <p:nvPr/>
          </p:nvSpPr>
          <p:spPr bwMode="auto">
            <a:xfrm>
              <a:off x="4428484" y="2750319"/>
              <a:ext cx="17848" cy="10499"/>
            </a:xfrm>
            <a:custGeom>
              <a:avLst/>
              <a:gdLst>
                <a:gd name="T0" fmla="*/ 6 w 17"/>
                <a:gd name="T1" fmla="*/ 0 h 10"/>
                <a:gd name="T2" fmla="*/ 6 w 17"/>
                <a:gd name="T3" fmla="*/ 0 h 10"/>
                <a:gd name="T4" fmla="*/ 10 w 17"/>
                <a:gd name="T5" fmla="*/ 0 h 10"/>
                <a:gd name="T6" fmla="*/ 13 w 17"/>
                <a:gd name="T7" fmla="*/ 2 h 10"/>
                <a:gd name="T8" fmla="*/ 17 w 17"/>
                <a:gd name="T9" fmla="*/ 8 h 10"/>
                <a:gd name="T10" fmla="*/ 17 w 17"/>
                <a:gd name="T11" fmla="*/ 8 h 10"/>
                <a:gd name="T12" fmla="*/ 17 w 17"/>
                <a:gd name="T13" fmla="*/ 10 h 10"/>
                <a:gd name="T14" fmla="*/ 17 w 17"/>
                <a:gd name="T15" fmla="*/ 10 h 10"/>
                <a:gd name="T16" fmla="*/ 15 w 17"/>
                <a:gd name="T17" fmla="*/ 10 h 10"/>
                <a:gd name="T18" fmla="*/ 15 w 17"/>
                <a:gd name="T19" fmla="*/ 10 h 10"/>
                <a:gd name="T20" fmla="*/ 13 w 17"/>
                <a:gd name="T21" fmla="*/ 6 h 10"/>
                <a:gd name="T22" fmla="*/ 10 w 17"/>
                <a:gd name="T23" fmla="*/ 6 h 10"/>
                <a:gd name="T24" fmla="*/ 4 w 17"/>
                <a:gd name="T25" fmla="*/ 6 h 10"/>
                <a:gd name="T26" fmla="*/ 4 w 17"/>
                <a:gd name="T27" fmla="*/ 6 h 10"/>
                <a:gd name="T28" fmla="*/ 0 w 17"/>
                <a:gd name="T29" fmla="*/ 4 h 10"/>
                <a:gd name="T30" fmla="*/ 0 w 17"/>
                <a:gd name="T31" fmla="*/ 4 h 10"/>
                <a:gd name="T32" fmla="*/ 4 w 17"/>
                <a:gd name="T33" fmla="*/ 0 h 10"/>
                <a:gd name="T34" fmla="*/ 4 w 17"/>
                <a:gd name="T35" fmla="*/ 0 h 10"/>
                <a:gd name="T36" fmla="*/ 6 w 17"/>
                <a:gd name="T37" fmla="*/ 0 h 10"/>
                <a:gd name="T38" fmla="*/ 6 w 17"/>
                <a:gd name="T3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" h="10">
                  <a:moveTo>
                    <a:pt x="6" y="0"/>
                  </a:moveTo>
                  <a:lnTo>
                    <a:pt x="6" y="0"/>
                  </a:lnTo>
                  <a:lnTo>
                    <a:pt x="10" y="0"/>
                  </a:lnTo>
                  <a:lnTo>
                    <a:pt x="13" y="2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6"/>
                  </a:lnTo>
                  <a:lnTo>
                    <a:pt x="1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4" name="Freeform 149"/>
            <p:cNvSpPr>
              <a:spLocks/>
            </p:cNvSpPr>
            <p:nvPr/>
          </p:nvSpPr>
          <p:spPr bwMode="auto">
            <a:xfrm>
              <a:off x="4441083" y="2820661"/>
              <a:ext cx="7349" cy="10499"/>
            </a:xfrm>
            <a:custGeom>
              <a:avLst/>
              <a:gdLst>
                <a:gd name="T0" fmla="*/ 7 w 7"/>
                <a:gd name="T1" fmla="*/ 2 h 10"/>
                <a:gd name="T2" fmla="*/ 7 w 7"/>
                <a:gd name="T3" fmla="*/ 2 h 10"/>
                <a:gd name="T4" fmla="*/ 7 w 7"/>
                <a:gd name="T5" fmla="*/ 6 h 10"/>
                <a:gd name="T6" fmla="*/ 7 w 7"/>
                <a:gd name="T7" fmla="*/ 6 h 10"/>
                <a:gd name="T8" fmla="*/ 7 w 7"/>
                <a:gd name="T9" fmla="*/ 10 h 10"/>
                <a:gd name="T10" fmla="*/ 3 w 7"/>
                <a:gd name="T11" fmla="*/ 10 h 10"/>
                <a:gd name="T12" fmla="*/ 3 w 7"/>
                <a:gd name="T13" fmla="*/ 10 h 10"/>
                <a:gd name="T14" fmla="*/ 1 w 7"/>
                <a:gd name="T15" fmla="*/ 8 h 10"/>
                <a:gd name="T16" fmla="*/ 0 w 7"/>
                <a:gd name="T17" fmla="*/ 4 h 10"/>
                <a:gd name="T18" fmla="*/ 0 w 7"/>
                <a:gd name="T19" fmla="*/ 4 h 10"/>
                <a:gd name="T20" fmla="*/ 1 w 7"/>
                <a:gd name="T21" fmla="*/ 0 h 10"/>
                <a:gd name="T22" fmla="*/ 1 w 7"/>
                <a:gd name="T23" fmla="*/ 0 h 10"/>
                <a:gd name="T24" fmla="*/ 5 w 7"/>
                <a:gd name="T25" fmla="*/ 0 h 10"/>
                <a:gd name="T26" fmla="*/ 5 w 7"/>
                <a:gd name="T27" fmla="*/ 0 h 10"/>
                <a:gd name="T28" fmla="*/ 7 w 7"/>
                <a:gd name="T29" fmla="*/ 2 h 10"/>
                <a:gd name="T30" fmla="*/ 7 w 7"/>
                <a:gd name="T3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10">
                  <a:moveTo>
                    <a:pt x="7" y="2"/>
                  </a:moveTo>
                  <a:lnTo>
                    <a:pt x="7" y="2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0"/>
                  </a:lnTo>
                  <a:lnTo>
                    <a:pt x="1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701938" y="5011764"/>
            <a:ext cx="460375" cy="460375"/>
            <a:chOff x="6985000" y="2053153"/>
            <a:chExt cx="1200150" cy="1200150"/>
          </a:xfrm>
        </p:grpSpPr>
        <p:sp>
          <p:nvSpPr>
            <p:cNvPr id="76" name="Freeform 5"/>
            <p:cNvSpPr>
              <a:spLocks noEditPoints="1"/>
            </p:cNvSpPr>
            <p:nvPr/>
          </p:nvSpPr>
          <p:spPr bwMode="auto">
            <a:xfrm>
              <a:off x="7724775" y="2192853"/>
              <a:ext cx="460375" cy="923925"/>
            </a:xfrm>
            <a:custGeom>
              <a:avLst/>
              <a:gdLst>
                <a:gd name="T0" fmla="*/ 266 w 290"/>
                <a:gd name="T1" fmla="*/ 0 h 582"/>
                <a:gd name="T2" fmla="*/ 0 w 290"/>
                <a:gd name="T3" fmla="*/ 0 h 582"/>
                <a:gd name="T4" fmla="*/ 0 w 290"/>
                <a:gd name="T5" fmla="*/ 86 h 582"/>
                <a:gd name="T6" fmla="*/ 88 w 290"/>
                <a:gd name="T7" fmla="*/ 86 h 582"/>
                <a:gd name="T8" fmla="*/ 88 w 290"/>
                <a:gd name="T9" fmla="*/ 146 h 582"/>
                <a:gd name="T10" fmla="*/ 0 w 290"/>
                <a:gd name="T11" fmla="*/ 146 h 582"/>
                <a:gd name="T12" fmla="*/ 0 w 290"/>
                <a:gd name="T13" fmla="*/ 204 h 582"/>
                <a:gd name="T14" fmla="*/ 86 w 290"/>
                <a:gd name="T15" fmla="*/ 204 h 582"/>
                <a:gd name="T16" fmla="*/ 86 w 290"/>
                <a:gd name="T17" fmla="*/ 262 h 582"/>
                <a:gd name="T18" fmla="*/ 0 w 290"/>
                <a:gd name="T19" fmla="*/ 262 h 582"/>
                <a:gd name="T20" fmla="*/ 0 w 290"/>
                <a:gd name="T21" fmla="*/ 320 h 582"/>
                <a:gd name="T22" fmla="*/ 86 w 290"/>
                <a:gd name="T23" fmla="*/ 320 h 582"/>
                <a:gd name="T24" fmla="*/ 86 w 290"/>
                <a:gd name="T25" fmla="*/ 378 h 582"/>
                <a:gd name="T26" fmla="*/ 0 w 290"/>
                <a:gd name="T27" fmla="*/ 378 h 582"/>
                <a:gd name="T28" fmla="*/ 0 w 290"/>
                <a:gd name="T29" fmla="*/ 436 h 582"/>
                <a:gd name="T30" fmla="*/ 86 w 290"/>
                <a:gd name="T31" fmla="*/ 436 h 582"/>
                <a:gd name="T32" fmla="*/ 86 w 290"/>
                <a:gd name="T33" fmla="*/ 494 h 582"/>
                <a:gd name="T34" fmla="*/ 0 w 290"/>
                <a:gd name="T35" fmla="*/ 494 h 582"/>
                <a:gd name="T36" fmla="*/ 0 w 290"/>
                <a:gd name="T37" fmla="*/ 582 h 582"/>
                <a:gd name="T38" fmla="*/ 266 w 290"/>
                <a:gd name="T39" fmla="*/ 582 h 582"/>
                <a:gd name="T40" fmla="*/ 266 w 290"/>
                <a:gd name="T41" fmla="*/ 582 h 582"/>
                <a:gd name="T42" fmla="*/ 276 w 290"/>
                <a:gd name="T43" fmla="*/ 580 h 582"/>
                <a:gd name="T44" fmla="*/ 284 w 290"/>
                <a:gd name="T45" fmla="*/ 574 h 582"/>
                <a:gd name="T46" fmla="*/ 288 w 290"/>
                <a:gd name="T47" fmla="*/ 566 h 582"/>
                <a:gd name="T48" fmla="*/ 290 w 290"/>
                <a:gd name="T49" fmla="*/ 556 h 582"/>
                <a:gd name="T50" fmla="*/ 290 w 290"/>
                <a:gd name="T51" fmla="*/ 26 h 582"/>
                <a:gd name="T52" fmla="*/ 290 w 290"/>
                <a:gd name="T53" fmla="*/ 26 h 582"/>
                <a:gd name="T54" fmla="*/ 288 w 290"/>
                <a:gd name="T55" fmla="*/ 16 h 582"/>
                <a:gd name="T56" fmla="*/ 284 w 290"/>
                <a:gd name="T57" fmla="*/ 8 h 582"/>
                <a:gd name="T58" fmla="*/ 276 w 290"/>
                <a:gd name="T59" fmla="*/ 2 h 582"/>
                <a:gd name="T60" fmla="*/ 266 w 290"/>
                <a:gd name="T61" fmla="*/ 0 h 582"/>
                <a:gd name="T62" fmla="*/ 266 w 290"/>
                <a:gd name="T63" fmla="*/ 0 h 582"/>
                <a:gd name="T64" fmla="*/ 232 w 290"/>
                <a:gd name="T65" fmla="*/ 494 h 582"/>
                <a:gd name="T66" fmla="*/ 116 w 290"/>
                <a:gd name="T67" fmla="*/ 494 h 582"/>
                <a:gd name="T68" fmla="*/ 116 w 290"/>
                <a:gd name="T69" fmla="*/ 436 h 582"/>
                <a:gd name="T70" fmla="*/ 232 w 290"/>
                <a:gd name="T71" fmla="*/ 436 h 582"/>
                <a:gd name="T72" fmla="*/ 232 w 290"/>
                <a:gd name="T73" fmla="*/ 494 h 582"/>
                <a:gd name="T74" fmla="*/ 232 w 290"/>
                <a:gd name="T75" fmla="*/ 378 h 582"/>
                <a:gd name="T76" fmla="*/ 116 w 290"/>
                <a:gd name="T77" fmla="*/ 378 h 582"/>
                <a:gd name="T78" fmla="*/ 116 w 290"/>
                <a:gd name="T79" fmla="*/ 320 h 582"/>
                <a:gd name="T80" fmla="*/ 232 w 290"/>
                <a:gd name="T81" fmla="*/ 320 h 582"/>
                <a:gd name="T82" fmla="*/ 232 w 290"/>
                <a:gd name="T83" fmla="*/ 378 h 582"/>
                <a:gd name="T84" fmla="*/ 232 w 290"/>
                <a:gd name="T85" fmla="*/ 262 h 582"/>
                <a:gd name="T86" fmla="*/ 116 w 290"/>
                <a:gd name="T87" fmla="*/ 262 h 582"/>
                <a:gd name="T88" fmla="*/ 116 w 290"/>
                <a:gd name="T89" fmla="*/ 204 h 582"/>
                <a:gd name="T90" fmla="*/ 232 w 290"/>
                <a:gd name="T91" fmla="*/ 204 h 582"/>
                <a:gd name="T92" fmla="*/ 232 w 290"/>
                <a:gd name="T93" fmla="*/ 262 h 582"/>
                <a:gd name="T94" fmla="*/ 232 w 290"/>
                <a:gd name="T95" fmla="*/ 146 h 582"/>
                <a:gd name="T96" fmla="*/ 116 w 290"/>
                <a:gd name="T97" fmla="*/ 146 h 582"/>
                <a:gd name="T98" fmla="*/ 116 w 290"/>
                <a:gd name="T99" fmla="*/ 88 h 582"/>
                <a:gd name="T100" fmla="*/ 232 w 290"/>
                <a:gd name="T101" fmla="*/ 88 h 582"/>
                <a:gd name="T102" fmla="*/ 232 w 290"/>
                <a:gd name="T103" fmla="*/ 146 h 582"/>
                <a:gd name="T104" fmla="*/ 232 w 290"/>
                <a:gd name="T105" fmla="*/ 146 h 582"/>
                <a:gd name="T106" fmla="*/ 232 w 290"/>
                <a:gd name="T107" fmla="*/ 146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0" h="582">
                  <a:moveTo>
                    <a:pt x="266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88" y="86"/>
                  </a:lnTo>
                  <a:lnTo>
                    <a:pt x="88" y="146"/>
                  </a:lnTo>
                  <a:lnTo>
                    <a:pt x="0" y="146"/>
                  </a:lnTo>
                  <a:lnTo>
                    <a:pt x="0" y="204"/>
                  </a:lnTo>
                  <a:lnTo>
                    <a:pt x="86" y="204"/>
                  </a:lnTo>
                  <a:lnTo>
                    <a:pt x="86" y="262"/>
                  </a:lnTo>
                  <a:lnTo>
                    <a:pt x="0" y="262"/>
                  </a:lnTo>
                  <a:lnTo>
                    <a:pt x="0" y="320"/>
                  </a:lnTo>
                  <a:lnTo>
                    <a:pt x="86" y="320"/>
                  </a:lnTo>
                  <a:lnTo>
                    <a:pt x="86" y="378"/>
                  </a:lnTo>
                  <a:lnTo>
                    <a:pt x="0" y="378"/>
                  </a:lnTo>
                  <a:lnTo>
                    <a:pt x="0" y="436"/>
                  </a:lnTo>
                  <a:lnTo>
                    <a:pt x="86" y="436"/>
                  </a:lnTo>
                  <a:lnTo>
                    <a:pt x="86" y="494"/>
                  </a:lnTo>
                  <a:lnTo>
                    <a:pt x="0" y="494"/>
                  </a:lnTo>
                  <a:lnTo>
                    <a:pt x="0" y="582"/>
                  </a:lnTo>
                  <a:lnTo>
                    <a:pt x="266" y="582"/>
                  </a:lnTo>
                  <a:lnTo>
                    <a:pt x="266" y="582"/>
                  </a:lnTo>
                  <a:lnTo>
                    <a:pt x="276" y="580"/>
                  </a:lnTo>
                  <a:lnTo>
                    <a:pt x="284" y="574"/>
                  </a:lnTo>
                  <a:lnTo>
                    <a:pt x="288" y="566"/>
                  </a:lnTo>
                  <a:lnTo>
                    <a:pt x="290" y="55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88" y="16"/>
                  </a:lnTo>
                  <a:lnTo>
                    <a:pt x="284" y="8"/>
                  </a:lnTo>
                  <a:lnTo>
                    <a:pt x="276" y="2"/>
                  </a:lnTo>
                  <a:lnTo>
                    <a:pt x="266" y="0"/>
                  </a:lnTo>
                  <a:lnTo>
                    <a:pt x="266" y="0"/>
                  </a:lnTo>
                  <a:close/>
                  <a:moveTo>
                    <a:pt x="232" y="494"/>
                  </a:moveTo>
                  <a:lnTo>
                    <a:pt x="116" y="494"/>
                  </a:lnTo>
                  <a:lnTo>
                    <a:pt x="116" y="436"/>
                  </a:lnTo>
                  <a:lnTo>
                    <a:pt x="232" y="436"/>
                  </a:lnTo>
                  <a:lnTo>
                    <a:pt x="232" y="494"/>
                  </a:lnTo>
                  <a:close/>
                  <a:moveTo>
                    <a:pt x="232" y="378"/>
                  </a:moveTo>
                  <a:lnTo>
                    <a:pt x="116" y="378"/>
                  </a:lnTo>
                  <a:lnTo>
                    <a:pt x="116" y="320"/>
                  </a:lnTo>
                  <a:lnTo>
                    <a:pt x="232" y="320"/>
                  </a:lnTo>
                  <a:lnTo>
                    <a:pt x="232" y="378"/>
                  </a:lnTo>
                  <a:close/>
                  <a:moveTo>
                    <a:pt x="232" y="262"/>
                  </a:moveTo>
                  <a:lnTo>
                    <a:pt x="116" y="262"/>
                  </a:lnTo>
                  <a:lnTo>
                    <a:pt x="116" y="204"/>
                  </a:lnTo>
                  <a:lnTo>
                    <a:pt x="232" y="204"/>
                  </a:lnTo>
                  <a:lnTo>
                    <a:pt x="232" y="262"/>
                  </a:lnTo>
                  <a:close/>
                  <a:moveTo>
                    <a:pt x="232" y="146"/>
                  </a:moveTo>
                  <a:lnTo>
                    <a:pt x="116" y="146"/>
                  </a:lnTo>
                  <a:lnTo>
                    <a:pt x="116" y="88"/>
                  </a:lnTo>
                  <a:lnTo>
                    <a:pt x="232" y="88"/>
                  </a:lnTo>
                  <a:lnTo>
                    <a:pt x="232" y="146"/>
                  </a:lnTo>
                  <a:close/>
                  <a:moveTo>
                    <a:pt x="232" y="146"/>
                  </a:moveTo>
                  <a:lnTo>
                    <a:pt x="232" y="146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7" name="Freeform 6"/>
            <p:cNvSpPr>
              <a:spLocks/>
            </p:cNvSpPr>
            <p:nvPr/>
          </p:nvSpPr>
          <p:spPr bwMode="auto">
            <a:xfrm>
              <a:off x="7724775" y="2192853"/>
              <a:ext cx="460375" cy="923925"/>
            </a:xfrm>
            <a:custGeom>
              <a:avLst/>
              <a:gdLst>
                <a:gd name="T0" fmla="*/ 266 w 290"/>
                <a:gd name="T1" fmla="*/ 0 h 582"/>
                <a:gd name="T2" fmla="*/ 0 w 290"/>
                <a:gd name="T3" fmla="*/ 0 h 582"/>
                <a:gd name="T4" fmla="*/ 0 w 290"/>
                <a:gd name="T5" fmla="*/ 86 h 582"/>
                <a:gd name="T6" fmla="*/ 88 w 290"/>
                <a:gd name="T7" fmla="*/ 86 h 582"/>
                <a:gd name="T8" fmla="*/ 88 w 290"/>
                <a:gd name="T9" fmla="*/ 146 h 582"/>
                <a:gd name="T10" fmla="*/ 0 w 290"/>
                <a:gd name="T11" fmla="*/ 146 h 582"/>
                <a:gd name="T12" fmla="*/ 0 w 290"/>
                <a:gd name="T13" fmla="*/ 204 h 582"/>
                <a:gd name="T14" fmla="*/ 86 w 290"/>
                <a:gd name="T15" fmla="*/ 204 h 582"/>
                <a:gd name="T16" fmla="*/ 86 w 290"/>
                <a:gd name="T17" fmla="*/ 262 h 582"/>
                <a:gd name="T18" fmla="*/ 0 w 290"/>
                <a:gd name="T19" fmla="*/ 262 h 582"/>
                <a:gd name="T20" fmla="*/ 0 w 290"/>
                <a:gd name="T21" fmla="*/ 320 h 582"/>
                <a:gd name="T22" fmla="*/ 86 w 290"/>
                <a:gd name="T23" fmla="*/ 320 h 582"/>
                <a:gd name="T24" fmla="*/ 86 w 290"/>
                <a:gd name="T25" fmla="*/ 378 h 582"/>
                <a:gd name="T26" fmla="*/ 0 w 290"/>
                <a:gd name="T27" fmla="*/ 378 h 582"/>
                <a:gd name="T28" fmla="*/ 0 w 290"/>
                <a:gd name="T29" fmla="*/ 436 h 582"/>
                <a:gd name="T30" fmla="*/ 86 w 290"/>
                <a:gd name="T31" fmla="*/ 436 h 582"/>
                <a:gd name="T32" fmla="*/ 86 w 290"/>
                <a:gd name="T33" fmla="*/ 494 h 582"/>
                <a:gd name="T34" fmla="*/ 0 w 290"/>
                <a:gd name="T35" fmla="*/ 494 h 582"/>
                <a:gd name="T36" fmla="*/ 0 w 290"/>
                <a:gd name="T37" fmla="*/ 582 h 582"/>
                <a:gd name="T38" fmla="*/ 266 w 290"/>
                <a:gd name="T39" fmla="*/ 582 h 582"/>
                <a:gd name="T40" fmla="*/ 266 w 290"/>
                <a:gd name="T41" fmla="*/ 582 h 582"/>
                <a:gd name="T42" fmla="*/ 276 w 290"/>
                <a:gd name="T43" fmla="*/ 580 h 582"/>
                <a:gd name="T44" fmla="*/ 284 w 290"/>
                <a:gd name="T45" fmla="*/ 574 h 582"/>
                <a:gd name="T46" fmla="*/ 288 w 290"/>
                <a:gd name="T47" fmla="*/ 566 h 582"/>
                <a:gd name="T48" fmla="*/ 290 w 290"/>
                <a:gd name="T49" fmla="*/ 556 h 582"/>
                <a:gd name="T50" fmla="*/ 290 w 290"/>
                <a:gd name="T51" fmla="*/ 26 h 582"/>
                <a:gd name="T52" fmla="*/ 290 w 290"/>
                <a:gd name="T53" fmla="*/ 26 h 582"/>
                <a:gd name="T54" fmla="*/ 288 w 290"/>
                <a:gd name="T55" fmla="*/ 16 h 582"/>
                <a:gd name="T56" fmla="*/ 284 w 290"/>
                <a:gd name="T57" fmla="*/ 8 h 582"/>
                <a:gd name="T58" fmla="*/ 276 w 290"/>
                <a:gd name="T59" fmla="*/ 2 h 582"/>
                <a:gd name="T60" fmla="*/ 266 w 290"/>
                <a:gd name="T61" fmla="*/ 0 h 582"/>
                <a:gd name="T62" fmla="*/ 266 w 290"/>
                <a:gd name="T6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0" h="582">
                  <a:moveTo>
                    <a:pt x="266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88" y="86"/>
                  </a:lnTo>
                  <a:lnTo>
                    <a:pt x="88" y="146"/>
                  </a:lnTo>
                  <a:lnTo>
                    <a:pt x="0" y="146"/>
                  </a:lnTo>
                  <a:lnTo>
                    <a:pt x="0" y="204"/>
                  </a:lnTo>
                  <a:lnTo>
                    <a:pt x="86" y="204"/>
                  </a:lnTo>
                  <a:lnTo>
                    <a:pt x="86" y="262"/>
                  </a:lnTo>
                  <a:lnTo>
                    <a:pt x="0" y="262"/>
                  </a:lnTo>
                  <a:lnTo>
                    <a:pt x="0" y="320"/>
                  </a:lnTo>
                  <a:lnTo>
                    <a:pt x="86" y="320"/>
                  </a:lnTo>
                  <a:lnTo>
                    <a:pt x="86" y="378"/>
                  </a:lnTo>
                  <a:lnTo>
                    <a:pt x="0" y="378"/>
                  </a:lnTo>
                  <a:lnTo>
                    <a:pt x="0" y="436"/>
                  </a:lnTo>
                  <a:lnTo>
                    <a:pt x="86" y="436"/>
                  </a:lnTo>
                  <a:lnTo>
                    <a:pt x="86" y="494"/>
                  </a:lnTo>
                  <a:lnTo>
                    <a:pt x="0" y="494"/>
                  </a:lnTo>
                  <a:lnTo>
                    <a:pt x="0" y="582"/>
                  </a:lnTo>
                  <a:lnTo>
                    <a:pt x="266" y="582"/>
                  </a:lnTo>
                  <a:lnTo>
                    <a:pt x="266" y="582"/>
                  </a:lnTo>
                  <a:lnTo>
                    <a:pt x="276" y="580"/>
                  </a:lnTo>
                  <a:lnTo>
                    <a:pt x="284" y="574"/>
                  </a:lnTo>
                  <a:lnTo>
                    <a:pt x="288" y="566"/>
                  </a:lnTo>
                  <a:lnTo>
                    <a:pt x="290" y="55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88" y="16"/>
                  </a:lnTo>
                  <a:lnTo>
                    <a:pt x="284" y="8"/>
                  </a:lnTo>
                  <a:lnTo>
                    <a:pt x="276" y="2"/>
                  </a:lnTo>
                  <a:lnTo>
                    <a:pt x="266" y="0"/>
                  </a:lnTo>
                  <a:lnTo>
                    <a:pt x="26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8" name="Rectangle 7"/>
            <p:cNvSpPr>
              <a:spLocks noChangeArrowheads="1"/>
            </p:cNvSpPr>
            <p:nvPr/>
          </p:nvSpPr>
          <p:spPr bwMode="auto">
            <a:xfrm>
              <a:off x="7908925" y="288500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9" name="Rectangle 8"/>
            <p:cNvSpPr>
              <a:spLocks noChangeArrowheads="1"/>
            </p:cNvSpPr>
            <p:nvPr/>
          </p:nvSpPr>
          <p:spPr bwMode="auto">
            <a:xfrm>
              <a:off x="7908925" y="270085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7908925" y="251670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1" name="Rectangle 10"/>
            <p:cNvSpPr>
              <a:spLocks noChangeArrowheads="1"/>
            </p:cNvSpPr>
            <p:nvPr/>
          </p:nvSpPr>
          <p:spPr bwMode="auto">
            <a:xfrm>
              <a:off x="7908925" y="233255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2" name="Line 11"/>
            <p:cNvSpPr>
              <a:spLocks noChangeShapeType="1"/>
            </p:cNvSpPr>
            <p:nvPr/>
          </p:nvSpPr>
          <p:spPr bwMode="auto">
            <a:xfrm>
              <a:off x="8093075" y="242462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3" name="Freeform 12"/>
            <p:cNvSpPr>
              <a:spLocks noEditPoints="1"/>
            </p:cNvSpPr>
            <p:nvPr/>
          </p:nvSpPr>
          <p:spPr bwMode="auto">
            <a:xfrm>
              <a:off x="6985000" y="2053153"/>
              <a:ext cx="692150" cy="1200150"/>
            </a:xfrm>
            <a:custGeom>
              <a:avLst/>
              <a:gdLst>
                <a:gd name="T0" fmla="*/ 0 w 436"/>
                <a:gd name="T1" fmla="*/ 84 h 756"/>
                <a:gd name="T2" fmla="*/ 0 w 436"/>
                <a:gd name="T3" fmla="*/ 672 h 756"/>
                <a:gd name="T4" fmla="*/ 436 w 436"/>
                <a:gd name="T5" fmla="*/ 756 h 756"/>
                <a:gd name="T6" fmla="*/ 436 w 436"/>
                <a:gd name="T7" fmla="*/ 0 h 756"/>
                <a:gd name="T8" fmla="*/ 0 w 436"/>
                <a:gd name="T9" fmla="*/ 84 h 756"/>
                <a:gd name="T10" fmla="*/ 276 w 436"/>
                <a:gd name="T11" fmla="*/ 526 h 756"/>
                <a:gd name="T12" fmla="*/ 226 w 436"/>
                <a:gd name="T13" fmla="*/ 430 h 756"/>
                <a:gd name="T14" fmla="*/ 226 w 436"/>
                <a:gd name="T15" fmla="*/ 430 h 756"/>
                <a:gd name="T16" fmla="*/ 222 w 436"/>
                <a:gd name="T17" fmla="*/ 422 h 756"/>
                <a:gd name="T18" fmla="*/ 220 w 436"/>
                <a:gd name="T19" fmla="*/ 410 h 756"/>
                <a:gd name="T20" fmla="*/ 218 w 436"/>
                <a:gd name="T21" fmla="*/ 410 h 756"/>
                <a:gd name="T22" fmla="*/ 218 w 436"/>
                <a:gd name="T23" fmla="*/ 410 h 756"/>
                <a:gd name="T24" fmla="*/ 212 w 436"/>
                <a:gd name="T25" fmla="*/ 432 h 756"/>
                <a:gd name="T26" fmla="*/ 162 w 436"/>
                <a:gd name="T27" fmla="*/ 526 h 756"/>
                <a:gd name="T28" fmla="*/ 82 w 436"/>
                <a:gd name="T29" fmla="*/ 526 h 756"/>
                <a:gd name="T30" fmla="*/ 176 w 436"/>
                <a:gd name="T31" fmla="*/ 380 h 756"/>
                <a:gd name="T32" fmla="*/ 90 w 436"/>
                <a:gd name="T33" fmla="*/ 232 h 756"/>
                <a:gd name="T34" fmla="*/ 172 w 436"/>
                <a:gd name="T35" fmla="*/ 232 h 756"/>
                <a:gd name="T36" fmla="*/ 214 w 436"/>
                <a:gd name="T37" fmla="*/ 320 h 756"/>
                <a:gd name="T38" fmla="*/ 214 w 436"/>
                <a:gd name="T39" fmla="*/ 320 h 756"/>
                <a:gd name="T40" fmla="*/ 222 w 436"/>
                <a:gd name="T41" fmla="*/ 344 h 756"/>
                <a:gd name="T42" fmla="*/ 222 w 436"/>
                <a:gd name="T43" fmla="*/ 344 h 756"/>
                <a:gd name="T44" fmla="*/ 222 w 436"/>
                <a:gd name="T45" fmla="*/ 344 h 756"/>
                <a:gd name="T46" fmla="*/ 232 w 436"/>
                <a:gd name="T47" fmla="*/ 320 h 756"/>
                <a:gd name="T48" fmla="*/ 278 w 436"/>
                <a:gd name="T49" fmla="*/ 232 h 756"/>
                <a:gd name="T50" fmla="*/ 352 w 436"/>
                <a:gd name="T51" fmla="*/ 232 h 756"/>
                <a:gd name="T52" fmla="*/ 264 w 436"/>
                <a:gd name="T53" fmla="*/ 378 h 756"/>
                <a:gd name="T54" fmla="*/ 356 w 436"/>
                <a:gd name="T55" fmla="*/ 526 h 756"/>
                <a:gd name="T56" fmla="*/ 276 w 436"/>
                <a:gd name="T57" fmla="*/ 526 h 756"/>
                <a:gd name="T58" fmla="*/ 276 w 436"/>
                <a:gd name="T59" fmla="*/ 526 h 756"/>
                <a:gd name="T60" fmla="*/ 276 w 436"/>
                <a:gd name="T61" fmla="*/ 52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6" h="756">
                  <a:moveTo>
                    <a:pt x="0" y="84"/>
                  </a:moveTo>
                  <a:lnTo>
                    <a:pt x="0" y="672"/>
                  </a:lnTo>
                  <a:lnTo>
                    <a:pt x="436" y="756"/>
                  </a:lnTo>
                  <a:lnTo>
                    <a:pt x="436" y="0"/>
                  </a:lnTo>
                  <a:lnTo>
                    <a:pt x="0" y="84"/>
                  </a:lnTo>
                  <a:close/>
                  <a:moveTo>
                    <a:pt x="276" y="526"/>
                  </a:moveTo>
                  <a:lnTo>
                    <a:pt x="226" y="430"/>
                  </a:lnTo>
                  <a:lnTo>
                    <a:pt x="226" y="430"/>
                  </a:lnTo>
                  <a:lnTo>
                    <a:pt x="222" y="422"/>
                  </a:lnTo>
                  <a:lnTo>
                    <a:pt x="220" y="410"/>
                  </a:lnTo>
                  <a:lnTo>
                    <a:pt x="218" y="410"/>
                  </a:lnTo>
                  <a:lnTo>
                    <a:pt x="218" y="410"/>
                  </a:lnTo>
                  <a:lnTo>
                    <a:pt x="212" y="432"/>
                  </a:lnTo>
                  <a:lnTo>
                    <a:pt x="162" y="526"/>
                  </a:lnTo>
                  <a:lnTo>
                    <a:pt x="82" y="526"/>
                  </a:lnTo>
                  <a:lnTo>
                    <a:pt x="176" y="380"/>
                  </a:lnTo>
                  <a:lnTo>
                    <a:pt x="90" y="232"/>
                  </a:lnTo>
                  <a:lnTo>
                    <a:pt x="172" y="232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22" y="344"/>
                  </a:lnTo>
                  <a:lnTo>
                    <a:pt x="222" y="344"/>
                  </a:lnTo>
                  <a:lnTo>
                    <a:pt x="222" y="344"/>
                  </a:lnTo>
                  <a:lnTo>
                    <a:pt x="232" y="320"/>
                  </a:lnTo>
                  <a:lnTo>
                    <a:pt x="278" y="232"/>
                  </a:lnTo>
                  <a:lnTo>
                    <a:pt x="352" y="232"/>
                  </a:lnTo>
                  <a:lnTo>
                    <a:pt x="264" y="378"/>
                  </a:lnTo>
                  <a:lnTo>
                    <a:pt x="356" y="526"/>
                  </a:lnTo>
                  <a:lnTo>
                    <a:pt x="276" y="526"/>
                  </a:lnTo>
                  <a:close/>
                  <a:moveTo>
                    <a:pt x="276" y="526"/>
                  </a:moveTo>
                  <a:lnTo>
                    <a:pt x="276" y="526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4" name="Freeform 13"/>
            <p:cNvSpPr>
              <a:spLocks/>
            </p:cNvSpPr>
            <p:nvPr/>
          </p:nvSpPr>
          <p:spPr bwMode="auto">
            <a:xfrm>
              <a:off x="6985000" y="2053153"/>
              <a:ext cx="692150" cy="1200150"/>
            </a:xfrm>
            <a:custGeom>
              <a:avLst/>
              <a:gdLst>
                <a:gd name="T0" fmla="*/ 0 w 436"/>
                <a:gd name="T1" fmla="*/ 84 h 756"/>
                <a:gd name="T2" fmla="*/ 0 w 436"/>
                <a:gd name="T3" fmla="*/ 672 h 756"/>
                <a:gd name="T4" fmla="*/ 436 w 436"/>
                <a:gd name="T5" fmla="*/ 756 h 756"/>
                <a:gd name="T6" fmla="*/ 436 w 436"/>
                <a:gd name="T7" fmla="*/ 0 h 756"/>
                <a:gd name="T8" fmla="*/ 0 w 436"/>
                <a:gd name="T9" fmla="*/ 84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6" h="756">
                  <a:moveTo>
                    <a:pt x="0" y="84"/>
                  </a:moveTo>
                  <a:lnTo>
                    <a:pt x="0" y="672"/>
                  </a:lnTo>
                  <a:lnTo>
                    <a:pt x="436" y="756"/>
                  </a:lnTo>
                  <a:lnTo>
                    <a:pt x="436" y="0"/>
                  </a:lnTo>
                  <a:lnTo>
                    <a:pt x="0" y="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5" name="Freeform 14"/>
            <p:cNvSpPr>
              <a:spLocks/>
            </p:cNvSpPr>
            <p:nvPr/>
          </p:nvSpPr>
          <p:spPr bwMode="auto">
            <a:xfrm>
              <a:off x="7115175" y="2421453"/>
              <a:ext cx="434975" cy="466725"/>
            </a:xfrm>
            <a:custGeom>
              <a:avLst/>
              <a:gdLst>
                <a:gd name="T0" fmla="*/ 194 w 274"/>
                <a:gd name="T1" fmla="*/ 294 h 294"/>
                <a:gd name="T2" fmla="*/ 144 w 274"/>
                <a:gd name="T3" fmla="*/ 198 h 294"/>
                <a:gd name="T4" fmla="*/ 144 w 274"/>
                <a:gd name="T5" fmla="*/ 198 h 294"/>
                <a:gd name="T6" fmla="*/ 140 w 274"/>
                <a:gd name="T7" fmla="*/ 190 h 294"/>
                <a:gd name="T8" fmla="*/ 138 w 274"/>
                <a:gd name="T9" fmla="*/ 178 h 294"/>
                <a:gd name="T10" fmla="*/ 136 w 274"/>
                <a:gd name="T11" fmla="*/ 178 h 294"/>
                <a:gd name="T12" fmla="*/ 136 w 274"/>
                <a:gd name="T13" fmla="*/ 178 h 294"/>
                <a:gd name="T14" fmla="*/ 130 w 274"/>
                <a:gd name="T15" fmla="*/ 200 h 294"/>
                <a:gd name="T16" fmla="*/ 80 w 274"/>
                <a:gd name="T17" fmla="*/ 294 h 294"/>
                <a:gd name="T18" fmla="*/ 0 w 274"/>
                <a:gd name="T19" fmla="*/ 294 h 294"/>
                <a:gd name="T20" fmla="*/ 94 w 274"/>
                <a:gd name="T21" fmla="*/ 148 h 294"/>
                <a:gd name="T22" fmla="*/ 8 w 274"/>
                <a:gd name="T23" fmla="*/ 0 h 294"/>
                <a:gd name="T24" fmla="*/ 90 w 274"/>
                <a:gd name="T25" fmla="*/ 0 h 294"/>
                <a:gd name="T26" fmla="*/ 132 w 274"/>
                <a:gd name="T27" fmla="*/ 88 h 294"/>
                <a:gd name="T28" fmla="*/ 132 w 274"/>
                <a:gd name="T29" fmla="*/ 88 h 294"/>
                <a:gd name="T30" fmla="*/ 140 w 274"/>
                <a:gd name="T31" fmla="*/ 112 h 294"/>
                <a:gd name="T32" fmla="*/ 140 w 274"/>
                <a:gd name="T33" fmla="*/ 112 h 294"/>
                <a:gd name="T34" fmla="*/ 140 w 274"/>
                <a:gd name="T35" fmla="*/ 112 h 294"/>
                <a:gd name="T36" fmla="*/ 150 w 274"/>
                <a:gd name="T37" fmla="*/ 88 h 294"/>
                <a:gd name="T38" fmla="*/ 196 w 274"/>
                <a:gd name="T39" fmla="*/ 0 h 294"/>
                <a:gd name="T40" fmla="*/ 270 w 274"/>
                <a:gd name="T41" fmla="*/ 0 h 294"/>
                <a:gd name="T42" fmla="*/ 182 w 274"/>
                <a:gd name="T43" fmla="*/ 146 h 294"/>
                <a:gd name="T44" fmla="*/ 274 w 274"/>
                <a:gd name="T45" fmla="*/ 294 h 294"/>
                <a:gd name="T46" fmla="*/ 194 w 274"/>
                <a:gd name="T47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4" h="294">
                  <a:moveTo>
                    <a:pt x="194" y="294"/>
                  </a:moveTo>
                  <a:lnTo>
                    <a:pt x="144" y="198"/>
                  </a:lnTo>
                  <a:lnTo>
                    <a:pt x="144" y="198"/>
                  </a:lnTo>
                  <a:lnTo>
                    <a:pt x="140" y="190"/>
                  </a:lnTo>
                  <a:lnTo>
                    <a:pt x="138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0" y="200"/>
                  </a:lnTo>
                  <a:lnTo>
                    <a:pt x="80" y="294"/>
                  </a:lnTo>
                  <a:lnTo>
                    <a:pt x="0" y="294"/>
                  </a:lnTo>
                  <a:lnTo>
                    <a:pt x="94" y="148"/>
                  </a:lnTo>
                  <a:lnTo>
                    <a:pt x="8" y="0"/>
                  </a:lnTo>
                  <a:lnTo>
                    <a:pt x="90" y="0"/>
                  </a:lnTo>
                  <a:lnTo>
                    <a:pt x="132" y="88"/>
                  </a:lnTo>
                  <a:lnTo>
                    <a:pt x="132" y="88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50" y="88"/>
                  </a:lnTo>
                  <a:lnTo>
                    <a:pt x="196" y="0"/>
                  </a:lnTo>
                  <a:lnTo>
                    <a:pt x="270" y="0"/>
                  </a:lnTo>
                  <a:lnTo>
                    <a:pt x="182" y="146"/>
                  </a:lnTo>
                  <a:lnTo>
                    <a:pt x="274" y="294"/>
                  </a:lnTo>
                  <a:lnTo>
                    <a:pt x="194" y="2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6" name="Line 15"/>
            <p:cNvSpPr>
              <a:spLocks noChangeShapeType="1"/>
            </p:cNvSpPr>
            <p:nvPr/>
          </p:nvSpPr>
          <p:spPr bwMode="auto">
            <a:xfrm>
              <a:off x="7423150" y="288817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66055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3200" dirty="0"/>
              <a:t>Současný stav – co je hotovo?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892300" y="4475476"/>
            <a:ext cx="6981700" cy="1456057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/>
              <a:t>Základní požadovaná funkcionalita</a:t>
            </a:r>
            <a:endParaRPr lang="en-US" sz="3200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892300" y="2635879"/>
            <a:ext cx="6981700" cy="1456057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/>
              <a:t>Aplikace založená na </a:t>
            </a:r>
            <a:br>
              <a:rPr lang="cs-CZ" sz="3200" dirty="0"/>
            </a:br>
            <a:r>
              <a:rPr lang="cs-CZ" sz="3200" dirty="0" err="1"/>
              <a:t>JavaEE</a:t>
            </a:r>
            <a:r>
              <a:rPr lang="cs-CZ" sz="3200" dirty="0"/>
              <a:t> + REACT</a:t>
            </a:r>
            <a:endParaRPr lang="en-US" sz="3200" dirty="0"/>
          </a:p>
        </p:txBody>
      </p:sp>
      <p:grpSp>
        <p:nvGrpSpPr>
          <p:cNvPr id="6" name="Group 5"/>
          <p:cNvGrpSpPr/>
          <p:nvPr/>
        </p:nvGrpSpPr>
        <p:grpSpPr>
          <a:xfrm>
            <a:off x="828787" y="4939661"/>
            <a:ext cx="696071" cy="696071"/>
            <a:chOff x="3268365" y="5360324"/>
            <a:chExt cx="696071" cy="696071"/>
          </a:xfrm>
          <a:solidFill>
            <a:srgbClr val="0065BD"/>
          </a:solidFill>
        </p:grpSpPr>
        <p:sp>
          <p:nvSpPr>
            <p:cNvPr id="7" name="Freeform 62"/>
            <p:cNvSpPr>
              <a:spLocks noEditPoints="1"/>
            </p:cNvSpPr>
            <p:nvPr/>
          </p:nvSpPr>
          <p:spPr bwMode="auto">
            <a:xfrm>
              <a:off x="3268365" y="5360324"/>
              <a:ext cx="696071" cy="696071"/>
            </a:xfrm>
            <a:custGeom>
              <a:avLst/>
              <a:gdLst>
                <a:gd name="T0" fmla="*/ 149 w 663"/>
                <a:gd name="T1" fmla="*/ 314 h 663"/>
                <a:gd name="T2" fmla="*/ 631 w 663"/>
                <a:gd name="T3" fmla="*/ 132 h 663"/>
                <a:gd name="T4" fmla="*/ 299 w 663"/>
                <a:gd name="T5" fmla="*/ 372 h 663"/>
                <a:gd name="T6" fmla="*/ 598 w 663"/>
                <a:gd name="T7" fmla="*/ 332 h 663"/>
                <a:gd name="T8" fmla="*/ 597 w 663"/>
                <a:gd name="T9" fmla="*/ 358 h 663"/>
                <a:gd name="T10" fmla="*/ 585 w 663"/>
                <a:gd name="T11" fmla="*/ 410 h 663"/>
                <a:gd name="T12" fmla="*/ 566 w 663"/>
                <a:gd name="T13" fmla="*/ 457 h 663"/>
                <a:gd name="T14" fmla="*/ 538 w 663"/>
                <a:gd name="T15" fmla="*/ 499 h 663"/>
                <a:gd name="T16" fmla="*/ 501 w 663"/>
                <a:gd name="T17" fmla="*/ 535 h 663"/>
                <a:gd name="T18" fmla="*/ 459 w 663"/>
                <a:gd name="T19" fmla="*/ 564 h 663"/>
                <a:gd name="T20" fmla="*/ 412 w 663"/>
                <a:gd name="T21" fmla="*/ 585 h 663"/>
                <a:gd name="T22" fmla="*/ 358 w 663"/>
                <a:gd name="T23" fmla="*/ 594 h 663"/>
                <a:gd name="T24" fmla="*/ 332 w 663"/>
                <a:gd name="T25" fmla="*/ 596 h 663"/>
                <a:gd name="T26" fmla="*/ 278 w 663"/>
                <a:gd name="T27" fmla="*/ 591 h 663"/>
                <a:gd name="T28" fmla="*/ 229 w 663"/>
                <a:gd name="T29" fmla="*/ 575 h 663"/>
                <a:gd name="T30" fmla="*/ 183 w 663"/>
                <a:gd name="T31" fmla="*/ 551 h 663"/>
                <a:gd name="T32" fmla="*/ 145 w 663"/>
                <a:gd name="T33" fmla="*/ 518 h 663"/>
                <a:gd name="T34" fmla="*/ 113 w 663"/>
                <a:gd name="T35" fmla="*/ 480 h 663"/>
                <a:gd name="T36" fmla="*/ 88 w 663"/>
                <a:gd name="T37" fmla="*/ 434 h 663"/>
                <a:gd name="T38" fmla="*/ 73 w 663"/>
                <a:gd name="T39" fmla="*/ 385 h 663"/>
                <a:gd name="T40" fmla="*/ 67 w 663"/>
                <a:gd name="T41" fmla="*/ 332 h 663"/>
                <a:gd name="T42" fmla="*/ 69 w 663"/>
                <a:gd name="T43" fmla="*/ 305 h 663"/>
                <a:gd name="T44" fmla="*/ 79 w 663"/>
                <a:gd name="T45" fmla="*/ 252 h 663"/>
                <a:gd name="T46" fmla="*/ 99 w 663"/>
                <a:gd name="T47" fmla="*/ 204 h 663"/>
                <a:gd name="T48" fmla="*/ 128 w 663"/>
                <a:gd name="T49" fmla="*/ 162 h 663"/>
                <a:gd name="T50" fmla="*/ 164 w 663"/>
                <a:gd name="T51" fmla="*/ 126 h 663"/>
                <a:gd name="T52" fmla="*/ 206 w 663"/>
                <a:gd name="T53" fmla="*/ 97 h 663"/>
                <a:gd name="T54" fmla="*/ 254 w 663"/>
                <a:gd name="T55" fmla="*/ 78 h 663"/>
                <a:gd name="T56" fmla="*/ 305 w 663"/>
                <a:gd name="T57" fmla="*/ 67 h 663"/>
                <a:gd name="T58" fmla="*/ 332 w 663"/>
                <a:gd name="T59" fmla="*/ 65 h 663"/>
                <a:gd name="T60" fmla="*/ 370 w 663"/>
                <a:gd name="T61" fmla="*/ 69 h 663"/>
                <a:gd name="T62" fmla="*/ 406 w 663"/>
                <a:gd name="T63" fmla="*/ 76 h 663"/>
                <a:gd name="T64" fmla="*/ 458 w 663"/>
                <a:gd name="T65" fmla="*/ 23 h 663"/>
                <a:gd name="T66" fmla="*/ 397 w 663"/>
                <a:gd name="T67" fmla="*/ 6 h 663"/>
                <a:gd name="T68" fmla="*/ 332 w 663"/>
                <a:gd name="T69" fmla="*/ 0 h 663"/>
                <a:gd name="T70" fmla="*/ 298 w 663"/>
                <a:gd name="T71" fmla="*/ 0 h 663"/>
                <a:gd name="T72" fmla="*/ 235 w 663"/>
                <a:gd name="T73" fmla="*/ 13 h 663"/>
                <a:gd name="T74" fmla="*/ 174 w 663"/>
                <a:gd name="T75" fmla="*/ 40 h 663"/>
                <a:gd name="T76" fmla="*/ 122 w 663"/>
                <a:gd name="T77" fmla="*/ 74 h 663"/>
                <a:gd name="T78" fmla="*/ 77 w 663"/>
                <a:gd name="T79" fmla="*/ 120 h 663"/>
                <a:gd name="T80" fmla="*/ 40 w 663"/>
                <a:gd name="T81" fmla="*/ 173 h 663"/>
                <a:gd name="T82" fmla="*/ 16 w 663"/>
                <a:gd name="T83" fmla="*/ 233 h 663"/>
                <a:gd name="T84" fmla="*/ 2 w 663"/>
                <a:gd name="T85" fmla="*/ 297 h 663"/>
                <a:gd name="T86" fmla="*/ 0 w 663"/>
                <a:gd name="T87" fmla="*/ 332 h 663"/>
                <a:gd name="T88" fmla="*/ 8 w 663"/>
                <a:gd name="T89" fmla="*/ 398 h 663"/>
                <a:gd name="T90" fmla="*/ 27 w 663"/>
                <a:gd name="T91" fmla="*/ 459 h 663"/>
                <a:gd name="T92" fmla="*/ 58 w 663"/>
                <a:gd name="T93" fmla="*/ 516 h 663"/>
                <a:gd name="T94" fmla="*/ 98 w 663"/>
                <a:gd name="T95" fmla="*/ 566 h 663"/>
                <a:gd name="T96" fmla="*/ 147 w 663"/>
                <a:gd name="T97" fmla="*/ 606 h 663"/>
                <a:gd name="T98" fmla="*/ 204 w 663"/>
                <a:gd name="T99" fmla="*/ 636 h 663"/>
                <a:gd name="T100" fmla="*/ 265 w 663"/>
                <a:gd name="T101" fmla="*/ 655 h 663"/>
                <a:gd name="T102" fmla="*/ 332 w 663"/>
                <a:gd name="T103" fmla="*/ 663 h 663"/>
                <a:gd name="T104" fmla="*/ 366 w 663"/>
                <a:gd name="T105" fmla="*/ 661 h 663"/>
                <a:gd name="T106" fmla="*/ 431 w 663"/>
                <a:gd name="T107" fmla="*/ 648 h 663"/>
                <a:gd name="T108" fmla="*/ 490 w 663"/>
                <a:gd name="T109" fmla="*/ 623 h 663"/>
                <a:gd name="T110" fmla="*/ 543 w 663"/>
                <a:gd name="T111" fmla="*/ 587 h 663"/>
                <a:gd name="T112" fmla="*/ 589 w 663"/>
                <a:gd name="T113" fmla="*/ 541 h 663"/>
                <a:gd name="T114" fmla="*/ 623 w 663"/>
                <a:gd name="T115" fmla="*/ 490 h 663"/>
                <a:gd name="T116" fmla="*/ 650 w 663"/>
                <a:gd name="T117" fmla="*/ 429 h 663"/>
                <a:gd name="T118" fmla="*/ 663 w 663"/>
                <a:gd name="T119" fmla="*/ 366 h 663"/>
                <a:gd name="T120" fmla="*/ 598 w 663"/>
                <a:gd name="T121" fmla="*/ 332 h 663"/>
                <a:gd name="T122" fmla="*/ 598 w 663"/>
                <a:gd name="T123" fmla="*/ 332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" h="663">
                  <a:moveTo>
                    <a:pt x="197" y="269"/>
                  </a:moveTo>
                  <a:lnTo>
                    <a:pt x="149" y="314"/>
                  </a:lnTo>
                  <a:lnTo>
                    <a:pt x="299" y="463"/>
                  </a:lnTo>
                  <a:lnTo>
                    <a:pt x="631" y="132"/>
                  </a:lnTo>
                  <a:lnTo>
                    <a:pt x="585" y="86"/>
                  </a:lnTo>
                  <a:lnTo>
                    <a:pt x="299" y="372"/>
                  </a:lnTo>
                  <a:lnTo>
                    <a:pt x="197" y="269"/>
                  </a:lnTo>
                  <a:close/>
                  <a:moveTo>
                    <a:pt x="598" y="332"/>
                  </a:moveTo>
                  <a:lnTo>
                    <a:pt x="598" y="332"/>
                  </a:lnTo>
                  <a:lnTo>
                    <a:pt x="597" y="358"/>
                  </a:lnTo>
                  <a:lnTo>
                    <a:pt x="593" y="385"/>
                  </a:lnTo>
                  <a:lnTo>
                    <a:pt x="585" y="410"/>
                  </a:lnTo>
                  <a:lnTo>
                    <a:pt x="578" y="434"/>
                  </a:lnTo>
                  <a:lnTo>
                    <a:pt x="566" y="457"/>
                  </a:lnTo>
                  <a:lnTo>
                    <a:pt x="553" y="480"/>
                  </a:lnTo>
                  <a:lnTo>
                    <a:pt x="538" y="499"/>
                  </a:lnTo>
                  <a:lnTo>
                    <a:pt x="520" y="518"/>
                  </a:lnTo>
                  <a:lnTo>
                    <a:pt x="501" y="535"/>
                  </a:lnTo>
                  <a:lnTo>
                    <a:pt x="480" y="551"/>
                  </a:lnTo>
                  <a:lnTo>
                    <a:pt x="459" y="564"/>
                  </a:lnTo>
                  <a:lnTo>
                    <a:pt x="435" y="575"/>
                  </a:lnTo>
                  <a:lnTo>
                    <a:pt x="412" y="585"/>
                  </a:lnTo>
                  <a:lnTo>
                    <a:pt x="385" y="591"/>
                  </a:lnTo>
                  <a:lnTo>
                    <a:pt x="358" y="594"/>
                  </a:lnTo>
                  <a:lnTo>
                    <a:pt x="332" y="596"/>
                  </a:lnTo>
                  <a:lnTo>
                    <a:pt x="332" y="596"/>
                  </a:lnTo>
                  <a:lnTo>
                    <a:pt x="305" y="594"/>
                  </a:lnTo>
                  <a:lnTo>
                    <a:pt x="278" y="591"/>
                  </a:lnTo>
                  <a:lnTo>
                    <a:pt x="254" y="585"/>
                  </a:lnTo>
                  <a:lnTo>
                    <a:pt x="229" y="575"/>
                  </a:lnTo>
                  <a:lnTo>
                    <a:pt x="206" y="564"/>
                  </a:lnTo>
                  <a:lnTo>
                    <a:pt x="183" y="551"/>
                  </a:lnTo>
                  <a:lnTo>
                    <a:pt x="164" y="535"/>
                  </a:lnTo>
                  <a:lnTo>
                    <a:pt x="145" y="518"/>
                  </a:lnTo>
                  <a:lnTo>
                    <a:pt x="128" y="499"/>
                  </a:lnTo>
                  <a:lnTo>
                    <a:pt x="113" y="480"/>
                  </a:lnTo>
                  <a:lnTo>
                    <a:pt x="99" y="457"/>
                  </a:lnTo>
                  <a:lnTo>
                    <a:pt x="88" y="434"/>
                  </a:lnTo>
                  <a:lnTo>
                    <a:pt x="79" y="410"/>
                  </a:lnTo>
                  <a:lnTo>
                    <a:pt x="73" y="385"/>
                  </a:lnTo>
                  <a:lnTo>
                    <a:pt x="69" y="358"/>
                  </a:lnTo>
                  <a:lnTo>
                    <a:pt x="67" y="332"/>
                  </a:lnTo>
                  <a:lnTo>
                    <a:pt x="67" y="332"/>
                  </a:lnTo>
                  <a:lnTo>
                    <a:pt x="69" y="305"/>
                  </a:lnTo>
                  <a:lnTo>
                    <a:pt x="73" y="278"/>
                  </a:lnTo>
                  <a:lnTo>
                    <a:pt x="79" y="252"/>
                  </a:lnTo>
                  <a:lnTo>
                    <a:pt x="88" y="229"/>
                  </a:lnTo>
                  <a:lnTo>
                    <a:pt x="99" y="204"/>
                  </a:lnTo>
                  <a:lnTo>
                    <a:pt x="113" y="183"/>
                  </a:lnTo>
                  <a:lnTo>
                    <a:pt x="128" y="162"/>
                  </a:lnTo>
                  <a:lnTo>
                    <a:pt x="145" y="143"/>
                  </a:lnTo>
                  <a:lnTo>
                    <a:pt x="164" y="126"/>
                  </a:lnTo>
                  <a:lnTo>
                    <a:pt x="183" y="111"/>
                  </a:lnTo>
                  <a:lnTo>
                    <a:pt x="206" y="97"/>
                  </a:lnTo>
                  <a:lnTo>
                    <a:pt x="229" y="86"/>
                  </a:lnTo>
                  <a:lnTo>
                    <a:pt x="254" y="78"/>
                  </a:lnTo>
                  <a:lnTo>
                    <a:pt x="278" y="71"/>
                  </a:lnTo>
                  <a:lnTo>
                    <a:pt x="305" y="67"/>
                  </a:lnTo>
                  <a:lnTo>
                    <a:pt x="332" y="65"/>
                  </a:lnTo>
                  <a:lnTo>
                    <a:pt x="332" y="65"/>
                  </a:lnTo>
                  <a:lnTo>
                    <a:pt x="351" y="67"/>
                  </a:lnTo>
                  <a:lnTo>
                    <a:pt x="370" y="69"/>
                  </a:lnTo>
                  <a:lnTo>
                    <a:pt x="387" y="71"/>
                  </a:lnTo>
                  <a:lnTo>
                    <a:pt x="406" y="76"/>
                  </a:lnTo>
                  <a:lnTo>
                    <a:pt x="458" y="23"/>
                  </a:lnTo>
                  <a:lnTo>
                    <a:pt x="458" y="23"/>
                  </a:lnTo>
                  <a:lnTo>
                    <a:pt x="427" y="13"/>
                  </a:lnTo>
                  <a:lnTo>
                    <a:pt x="397" y="6"/>
                  </a:lnTo>
                  <a:lnTo>
                    <a:pt x="364" y="0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298" y="0"/>
                  </a:lnTo>
                  <a:lnTo>
                    <a:pt x="265" y="6"/>
                  </a:lnTo>
                  <a:lnTo>
                    <a:pt x="235" y="13"/>
                  </a:lnTo>
                  <a:lnTo>
                    <a:pt x="204" y="25"/>
                  </a:lnTo>
                  <a:lnTo>
                    <a:pt x="174" y="40"/>
                  </a:lnTo>
                  <a:lnTo>
                    <a:pt x="147" y="55"/>
                  </a:lnTo>
                  <a:lnTo>
                    <a:pt x="122" y="74"/>
                  </a:lnTo>
                  <a:lnTo>
                    <a:pt x="98" y="97"/>
                  </a:lnTo>
                  <a:lnTo>
                    <a:pt x="77" y="120"/>
                  </a:lnTo>
                  <a:lnTo>
                    <a:pt x="58" y="147"/>
                  </a:lnTo>
                  <a:lnTo>
                    <a:pt x="40" y="173"/>
                  </a:lnTo>
                  <a:lnTo>
                    <a:pt x="27" y="202"/>
                  </a:lnTo>
                  <a:lnTo>
                    <a:pt x="16" y="233"/>
                  </a:lnTo>
                  <a:lnTo>
                    <a:pt x="8" y="265"/>
                  </a:lnTo>
                  <a:lnTo>
                    <a:pt x="2" y="297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2" y="366"/>
                  </a:lnTo>
                  <a:lnTo>
                    <a:pt x="8" y="398"/>
                  </a:lnTo>
                  <a:lnTo>
                    <a:pt x="16" y="429"/>
                  </a:lnTo>
                  <a:lnTo>
                    <a:pt x="27" y="459"/>
                  </a:lnTo>
                  <a:lnTo>
                    <a:pt x="40" y="490"/>
                  </a:lnTo>
                  <a:lnTo>
                    <a:pt x="58" y="516"/>
                  </a:lnTo>
                  <a:lnTo>
                    <a:pt x="77" y="541"/>
                  </a:lnTo>
                  <a:lnTo>
                    <a:pt x="98" y="566"/>
                  </a:lnTo>
                  <a:lnTo>
                    <a:pt x="122" y="587"/>
                  </a:lnTo>
                  <a:lnTo>
                    <a:pt x="147" y="606"/>
                  </a:lnTo>
                  <a:lnTo>
                    <a:pt x="174" y="623"/>
                  </a:lnTo>
                  <a:lnTo>
                    <a:pt x="204" y="636"/>
                  </a:lnTo>
                  <a:lnTo>
                    <a:pt x="235" y="648"/>
                  </a:lnTo>
                  <a:lnTo>
                    <a:pt x="265" y="655"/>
                  </a:lnTo>
                  <a:lnTo>
                    <a:pt x="298" y="661"/>
                  </a:lnTo>
                  <a:lnTo>
                    <a:pt x="332" y="663"/>
                  </a:lnTo>
                  <a:lnTo>
                    <a:pt x="332" y="663"/>
                  </a:lnTo>
                  <a:lnTo>
                    <a:pt x="366" y="661"/>
                  </a:lnTo>
                  <a:lnTo>
                    <a:pt x="398" y="655"/>
                  </a:lnTo>
                  <a:lnTo>
                    <a:pt x="431" y="648"/>
                  </a:lnTo>
                  <a:lnTo>
                    <a:pt x="461" y="636"/>
                  </a:lnTo>
                  <a:lnTo>
                    <a:pt x="490" y="623"/>
                  </a:lnTo>
                  <a:lnTo>
                    <a:pt x="517" y="606"/>
                  </a:lnTo>
                  <a:lnTo>
                    <a:pt x="543" y="587"/>
                  </a:lnTo>
                  <a:lnTo>
                    <a:pt x="566" y="566"/>
                  </a:lnTo>
                  <a:lnTo>
                    <a:pt x="589" y="541"/>
                  </a:lnTo>
                  <a:lnTo>
                    <a:pt x="608" y="516"/>
                  </a:lnTo>
                  <a:lnTo>
                    <a:pt x="623" y="490"/>
                  </a:lnTo>
                  <a:lnTo>
                    <a:pt x="638" y="459"/>
                  </a:lnTo>
                  <a:lnTo>
                    <a:pt x="650" y="429"/>
                  </a:lnTo>
                  <a:lnTo>
                    <a:pt x="658" y="398"/>
                  </a:lnTo>
                  <a:lnTo>
                    <a:pt x="663" y="366"/>
                  </a:lnTo>
                  <a:lnTo>
                    <a:pt x="663" y="332"/>
                  </a:lnTo>
                  <a:lnTo>
                    <a:pt x="598" y="332"/>
                  </a:lnTo>
                  <a:close/>
                  <a:moveTo>
                    <a:pt x="598" y="332"/>
                  </a:moveTo>
                  <a:lnTo>
                    <a:pt x="598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" name="Freeform 63"/>
            <p:cNvSpPr>
              <a:spLocks/>
            </p:cNvSpPr>
            <p:nvPr/>
          </p:nvSpPr>
          <p:spPr bwMode="auto">
            <a:xfrm>
              <a:off x="3424798" y="5450614"/>
              <a:ext cx="506043" cy="395805"/>
            </a:xfrm>
            <a:custGeom>
              <a:avLst/>
              <a:gdLst>
                <a:gd name="T0" fmla="*/ 48 w 482"/>
                <a:gd name="T1" fmla="*/ 183 h 377"/>
                <a:gd name="T2" fmla="*/ 0 w 482"/>
                <a:gd name="T3" fmla="*/ 228 h 377"/>
                <a:gd name="T4" fmla="*/ 150 w 482"/>
                <a:gd name="T5" fmla="*/ 377 h 377"/>
                <a:gd name="T6" fmla="*/ 482 w 482"/>
                <a:gd name="T7" fmla="*/ 46 h 377"/>
                <a:gd name="T8" fmla="*/ 436 w 482"/>
                <a:gd name="T9" fmla="*/ 0 h 377"/>
                <a:gd name="T10" fmla="*/ 150 w 482"/>
                <a:gd name="T11" fmla="*/ 286 h 377"/>
                <a:gd name="T12" fmla="*/ 48 w 482"/>
                <a:gd name="T13" fmla="*/ 183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377">
                  <a:moveTo>
                    <a:pt x="48" y="183"/>
                  </a:moveTo>
                  <a:lnTo>
                    <a:pt x="0" y="228"/>
                  </a:lnTo>
                  <a:lnTo>
                    <a:pt x="150" y="377"/>
                  </a:lnTo>
                  <a:lnTo>
                    <a:pt x="482" y="46"/>
                  </a:lnTo>
                  <a:lnTo>
                    <a:pt x="436" y="0"/>
                  </a:lnTo>
                  <a:lnTo>
                    <a:pt x="150" y="286"/>
                  </a:lnTo>
                  <a:lnTo>
                    <a:pt x="48" y="18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9" name="Freeform 64"/>
            <p:cNvSpPr>
              <a:spLocks/>
            </p:cNvSpPr>
            <p:nvPr/>
          </p:nvSpPr>
          <p:spPr bwMode="auto">
            <a:xfrm>
              <a:off x="3268365" y="5360324"/>
              <a:ext cx="696071" cy="696071"/>
            </a:xfrm>
            <a:custGeom>
              <a:avLst/>
              <a:gdLst>
                <a:gd name="T0" fmla="*/ 598 w 663"/>
                <a:gd name="T1" fmla="*/ 332 h 663"/>
                <a:gd name="T2" fmla="*/ 593 w 663"/>
                <a:gd name="T3" fmla="*/ 385 h 663"/>
                <a:gd name="T4" fmla="*/ 578 w 663"/>
                <a:gd name="T5" fmla="*/ 434 h 663"/>
                <a:gd name="T6" fmla="*/ 553 w 663"/>
                <a:gd name="T7" fmla="*/ 480 h 663"/>
                <a:gd name="T8" fmla="*/ 520 w 663"/>
                <a:gd name="T9" fmla="*/ 518 h 663"/>
                <a:gd name="T10" fmla="*/ 480 w 663"/>
                <a:gd name="T11" fmla="*/ 551 h 663"/>
                <a:gd name="T12" fmla="*/ 435 w 663"/>
                <a:gd name="T13" fmla="*/ 575 h 663"/>
                <a:gd name="T14" fmla="*/ 385 w 663"/>
                <a:gd name="T15" fmla="*/ 591 h 663"/>
                <a:gd name="T16" fmla="*/ 332 w 663"/>
                <a:gd name="T17" fmla="*/ 596 h 663"/>
                <a:gd name="T18" fmla="*/ 305 w 663"/>
                <a:gd name="T19" fmla="*/ 594 h 663"/>
                <a:gd name="T20" fmla="*/ 254 w 663"/>
                <a:gd name="T21" fmla="*/ 585 h 663"/>
                <a:gd name="T22" fmla="*/ 206 w 663"/>
                <a:gd name="T23" fmla="*/ 564 h 663"/>
                <a:gd name="T24" fmla="*/ 164 w 663"/>
                <a:gd name="T25" fmla="*/ 535 h 663"/>
                <a:gd name="T26" fmla="*/ 128 w 663"/>
                <a:gd name="T27" fmla="*/ 499 h 663"/>
                <a:gd name="T28" fmla="*/ 99 w 663"/>
                <a:gd name="T29" fmla="*/ 457 h 663"/>
                <a:gd name="T30" fmla="*/ 79 w 663"/>
                <a:gd name="T31" fmla="*/ 410 h 663"/>
                <a:gd name="T32" fmla="*/ 69 w 663"/>
                <a:gd name="T33" fmla="*/ 358 h 663"/>
                <a:gd name="T34" fmla="*/ 67 w 663"/>
                <a:gd name="T35" fmla="*/ 332 h 663"/>
                <a:gd name="T36" fmla="*/ 73 w 663"/>
                <a:gd name="T37" fmla="*/ 278 h 663"/>
                <a:gd name="T38" fmla="*/ 88 w 663"/>
                <a:gd name="T39" fmla="*/ 229 h 663"/>
                <a:gd name="T40" fmla="*/ 113 w 663"/>
                <a:gd name="T41" fmla="*/ 183 h 663"/>
                <a:gd name="T42" fmla="*/ 145 w 663"/>
                <a:gd name="T43" fmla="*/ 143 h 663"/>
                <a:gd name="T44" fmla="*/ 183 w 663"/>
                <a:gd name="T45" fmla="*/ 111 h 663"/>
                <a:gd name="T46" fmla="*/ 229 w 663"/>
                <a:gd name="T47" fmla="*/ 86 h 663"/>
                <a:gd name="T48" fmla="*/ 278 w 663"/>
                <a:gd name="T49" fmla="*/ 71 h 663"/>
                <a:gd name="T50" fmla="*/ 332 w 663"/>
                <a:gd name="T51" fmla="*/ 65 h 663"/>
                <a:gd name="T52" fmla="*/ 351 w 663"/>
                <a:gd name="T53" fmla="*/ 67 h 663"/>
                <a:gd name="T54" fmla="*/ 387 w 663"/>
                <a:gd name="T55" fmla="*/ 71 h 663"/>
                <a:gd name="T56" fmla="*/ 458 w 663"/>
                <a:gd name="T57" fmla="*/ 23 h 663"/>
                <a:gd name="T58" fmla="*/ 427 w 663"/>
                <a:gd name="T59" fmla="*/ 13 h 663"/>
                <a:gd name="T60" fmla="*/ 364 w 663"/>
                <a:gd name="T61" fmla="*/ 0 h 663"/>
                <a:gd name="T62" fmla="*/ 332 w 663"/>
                <a:gd name="T63" fmla="*/ 0 h 663"/>
                <a:gd name="T64" fmla="*/ 265 w 663"/>
                <a:gd name="T65" fmla="*/ 6 h 663"/>
                <a:gd name="T66" fmla="*/ 204 w 663"/>
                <a:gd name="T67" fmla="*/ 25 h 663"/>
                <a:gd name="T68" fmla="*/ 147 w 663"/>
                <a:gd name="T69" fmla="*/ 55 h 663"/>
                <a:gd name="T70" fmla="*/ 98 w 663"/>
                <a:gd name="T71" fmla="*/ 97 h 663"/>
                <a:gd name="T72" fmla="*/ 58 w 663"/>
                <a:gd name="T73" fmla="*/ 147 h 663"/>
                <a:gd name="T74" fmla="*/ 27 w 663"/>
                <a:gd name="T75" fmla="*/ 202 h 663"/>
                <a:gd name="T76" fmla="*/ 8 w 663"/>
                <a:gd name="T77" fmla="*/ 265 h 663"/>
                <a:gd name="T78" fmla="*/ 0 w 663"/>
                <a:gd name="T79" fmla="*/ 332 h 663"/>
                <a:gd name="T80" fmla="*/ 2 w 663"/>
                <a:gd name="T81" fmla="*/ 366 h 663"/>
                <a:gd name="T82" fmla="*/ 16 w 663"/>
                <a:gd name="T83" fmla="*/ 429 h 663"/>
                <a:gd name="T84" fmla="*/ 40 w 663"/>
                <a:gd name="T85" fmla="*/ 490 h 663"/>
                <a:gd name="T86" fmla="*/ 77 w 663"/>
                <a:gd name="T87" fmla="*/ 541 h 663"/>
                <a:gd name="T88" fmla="*/ 122 w 663"/>
                <a:gd name="T89" fmla="*/ 587 h 663"/>
                <a:gd name="T90" fmla="*/ 174 w 663"/>
                <a:gd name="T91" fmla="*/ 623 h 663"/>
                <a:gd name="T92" fmla="*/ 235 w 663"/>
                <a:gd name="T93" fmla="*/ 648 h 663"/>
                <a:gd name="T94" fmla="*/ 298 w 663"/>
                <a:gd name="T95" fmla="*/ 661 h 663"/>
                <a:gd name="T96" fmla="*/ 332 w 663"/>
                <a:gd name="T97" fmla="*/ 663 h 663"/>
                <a:gd name="T98" fmla="*/ 398 w 663"/>
                <a:gd name="T99" fmla="*/ 655 h 663"/>
                <a:gd name="T100" fmla="*/ 461 w 663"/>
                <a:gd name="T101" fmla="*/ 636 h 663"/>
                <a:gd name="T102" fmla="*/ 517 w 663"/>
                <a:gd name="T103" fmla="*/ 606 h 663"/>
                <a:gd name="T104" fmla="*/ 566 w 663"/>
                <a:gd name="T105" fmla="*/ 566 h 663"/>
                <a:gd name="T106" fmla="*/ 608 w 663"/>
                <a:gd name="T107" fmla="*/ 516 h 663"/>
                <a:gd name="T108" fmla="*/ 638 w 663"/>
                <a:gd name="T109" fmla="*/ 459 h 663"/>
                <a:gd name="T110" fmla="*/ 658 w 663"/>
                <a:gd name="T111" fmla="*/ 398 h 663"/>
                <a:gd name="T112" fmla="*/ 663 w 663"/>
                <a:gd name="T113" fmla="*/ 332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3" h="663">
                  <a:moveTo>
                    <a:pt x="598" y="332"/>
                  </a:moveTo>
                  <a:lnTo>
                    <a:pt x="598" y="332"/>
                  </a:lnTo>
                  <a:lnTo>
                    <a:pt x="597" y="358"/>
                  </a:lnTo>
                  <a:lnTo>
                    <a:pt x="593" y="385"/>
                  </a:lnTo>
                  <a:lnTo>
                    <a:pt x="585" y="410"/>
                  </a:lnTo>
                  <a:lnTo>
                    <a:pt x="578" y="434"/>
                  </a:lnTo>
                  <a:lnTo>
                    <a:pt x="566" y="457"/>
                  </a:lnTo>
                  <a:lnTo>
                    <a:pt x="553" y="480"/>
                  </a:lnTo>
                  <a:lnTo>
                    <a:pt x="538" y="499"/>
                  </a:lnTo>
                  <a:lnTo>
                    <a:pt x="520" y="518"/>
                  </a:lnTo>
                  <a:lnTo>
                    <a:pt x="501" y="535"/>
                  </a:lnTo>
                  <a:lnTo>
                    <a:pt x="480" y="551"/>
                  </a:lnTo>
                  <a:lnTo>
                    <a:pt x="459" y="564"/>
                  </a:lnTo>
                  <a:lnTo>
                    <a:pt x="435" y="575"/>
                  </a:lnTo>
                  <a:lnTo>
                    <a:pt x="412" y="585"/>
                  </a:lnTo>
                  <a:lnTo>
                    <a:pt x="385" y="591"/>
                  </a:lnTo>
                  <a:lnTo>
                    <a:pt x="358" y="594"/>
                  </a:lnTo>
                  <a:lnTo>
                    <a:pt x="332" y="596"/>
                  </a:lnTo>
                  <a:lnTo>
                    <a:pt x="332" y="596"/>
                  </a:lnTo>
                  <a:lnTo>
                    <a:pt x="305" y="594"/>
                  </a:lnTo>
                  <a:lnTo>
                    <a:pt x="278" y="591"/>
                  </a:lnTo>
                  <a:lnTo>
                    <a:pt x="254" y="585"/>
                  </a:lnTo>
                  <a:lnTo>
                    <a:pt x="229" y="575"/>
                  </a:lnTo>
                  <a:lnTo>
                    <a:pt x="206" y="564"/>
                  </a:lnTo>
                  <a:lnTo>
                    <a:pt x="183" y="551"/>
                  </a:lnTo>
                  <a:lnTo>
                    <a:pt x="164" y="535"/>
                  </a:lnTo>
                  <a:lnTo>
                    <a:pt x="145" y="518"/>
                  </a:lnTo>
                  <a:lnTo>
                    <a:pt x="128" y="499"/>
                  </a:lnTo>
                  <a:lnTo>
                    <a:pt x="113" y="480"/>
                  </a:lnTo>
                  <a:lnTo>
                    <a:pt x="99" y="457"/>
                  </a:lnTo>
                  <a:lnTo>
                    <a:pt x="88" y="434"/>
                  </a:lnTo>
                  <a:lnTo>
                    <a:pt x="79" y="410"/>
                  </a:lnTo>
                  <a:lnTo>
                    <a:pt x="73" y="385"/>
                  </a:lnTo>
                  <a:lnTo>
                    <a:pt x="69" y="358"/>
                  </a:lnTo>
                  <a:lnTo>
                    <a:pt x="67" y="332"/>
                  </a:lnTo>
                  <a:lnTo>
                    <a:pt x="67" y="332"/>
                  </a:lnTo>
                  <a:lnTo>
                    <a:pt x="69" y="305"/>
                  </a:lnTo>
                  <a:lnTo>
                    <a:pt x="73" y="278"/>
                  </a:lnTo>
                  <a:lnTo>
                    <a:pt x="79" y="252"/>
                  </a:lnTo>
                  <a:lnTo>
                    <a:pt x="88" y="229"/>
                  </a:lnTo>
                  <a:lnTo>
                    <a:pt x="99" y="204"/>
                  </a:lnTo>
                  <a:lnTo>
                    <a:pt x="113" y="183"/>
                  </a:lnTo>
                  <a:lnTo>
                    <a:pt x="128" y="162"/>
                  </a:lnTo>
                  <a:lnTo>
                    <a:pt x="145" y="143"/>
                  </a:lnTo>
                  <a:lnTo>
                    <a:pt x="164" y="126"/>
                  </a:lnTo>
                  <a:lnTo>
                    <a:pt x="183" y="111"/>
                  </a:lnTo>
                  <a:lnTo>
                    <a:pt x="206" y="97"/>
                  </a:lnTo>
                  <a:lnTo>
                    <a:pt x="229" y="86"/>
                  </a:lnTo>
                  <a:lnTo>
                    <a:pt x="254" y="78"/>
                  </a:lnTo>
                  <a:lnTo>
                    <a:pt x="278" y="71"/>
                  </a:lnTo>
                  <a:lnTo>
                    <a:pt x="305" y="67"/>
                  </a:lnTo>
                  <a:lnTo>
                    <a:pt x="332" y="65"/>
                  </a:lnTo>
                  <a:lnTo>
                    <a:pt x="332" y="65"/>
                  </a:lnTo>
                  <a:lnTo>
                    <a:pt x="351" y="67"/>
                  </a:lnTo>
                  <a:lnTo>
                    <a:pt x="370" y="69"/>
                  </a:lnTo>
                  <a:lnTo>
                    <a:pt x="387" y="71"/>
                  </a:lnTo>
                  <a:lnTo>
                    <a:pt x="406" y="76"/>
                  </a:lnTo>
                  <a:lnTo>
                    <a:pt x="458" y="23"/>
                  </a:lnTo>
                  <a:lnTo>
                    <a:pt x="458" y="23"/>
                  </a:lnTo>
                  <a:lnTo>
                    <a:pt x="427" y="13"/>
                  </a:lnTo>
                  <a:lnTo>
                    <a:pt x="397" y="6"/>
                  </a:lnTo>
                  <a:lnTo>
                    <a:pt x="364" y="0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298" y="0"/>
                  </a:lnTo>
                  <a:lnTo>
                    <a:pt x="265" y="6"/>
                  </a:lnTo>
                  <a:lnTo>
                    <a:pt x="235" y="13"/>
                  </a:lnTo>
                  <a:lnTo>
                    <a:pt x="204" y="25"/>
                  </a:lnTo>
                  <a:lnTo>
                    <a:pt x="174" y="40"/>
                  </a:lnTo>
                  <a:lnTo>
                    <a:pt x="147" y="55"/>
                  </a:lnTo>
                  <a:lnTo>
                    <a:pt x="122" y="74"/>
                  </a:lnTo>
                  <a:lnTo>
                    <a:pt x="98" y="97"/>
                  </a:lnTo>
                  <a:lnTo>
                    <a:pt x="77" y="120"/>
                  </a:lnTo>
                  <a:lnTo>
                    <a:pt x="58" y="147"/>
                  </a:lnTo>
                  <a:lnTo>
                    <a:pt x="40" y="173"/>
                  </a:lnTo>
                  <a:lnTo>
                    <a:pt x="27" y="202"/>
                  </a:lnTo>
                  <a:lnTo>
                    <a:pt x="16" y="233"/>
                  </a:lnTo>
                  <a:lnTo>
                    <a:pt x="8" y="265"/>
                  </a:lnTo>
                  <a:lnTo>
                    <a:pt x="2" y="297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2" y="366"/>
                  </a:lnTo>
                  <a:lnTo>
                    <a:pt x="8" y="398"/>
                  </a:lnTo>
                  <a:lnTo>
                    <a:pt x="16" y="429"/>
                  </a:lnTo>
                  <a:lnTo>
                    <a:pt x="27" y="459"/>
                  </a:lnTo>
                  <a:lnTo>
                    <a:pt x="40" y="490"/>
                  </a:lnTo>
                  <a:lnTo>
                    <a:pt x="58" y="516"/>
                  </a:lnTo>
                  <a:lnTo>
                    <a:pt x="77" y="541"/>
                  </a:lnTo>
                  <a:lnTo>
                    <a:pt x="98" y="566"/>
                  </a:lnTo>
                  <a:lnTo>
                    <a:pt x="122" y="587"/>
                  </a:lnTo>
                  <a:lnTo>
                    <a:pt x="147" y="606"/>
                  </a:lnTo>
                  <a:lnTo>
                    <a:pt x="174" y="623"/>
                  </a:lnTo>
                  <a:lnTo>
                    <a:pt x="204" y="636"/>
                  </a:lnTo>
                  <a:lnTo>
                    <a:pt x="235" y="648"/>
                  </a:lnTo>
                  <a:lnTo>
                    <a:pt x="265" y="655"/>
                  </a:lnTo>
                  <a:lnTo>
                    <a:pt x="298" y="661"/>
                  </a:lnTo>
                  <a:lnTo>
                    <a:pt x="332" y="663"/>
                  </a:lnTo>
                  <a:lnTo>
                    <a:pt x="332" y="663"/>
                  </a:lnTo>
                  <a:lnTo>
                    <a:pt x="366" y="661"/>
                  </a:lnTo>
                  <a:lnTo>
                    <a:pt x="398" y="655"/>
                  </a:lnTo>
                  <a:lnTo>
                    <a:pt x="431" y="648"/>
                  </a:lnTo>
                  <a:lnTo>
                    <a:pt x="461" y="636"/>
                  </a:lnTo>
                  <a:lnTo>
                    <a:pt x="490" y="623"/>
                  </a:lnTo>
                  <a:lnTo>
                    <a:pt x="517" y="606"/>
                  </a:lnTo>
                  <a:lnTo>
                    <a:pt x="543" y="587"/>
                  </a:lnTo>
                  <a:lnTo>
                    <a:pt x="566" y="566"/>
                  </a:lnTo>
                  <a:lnTo>
                    <a:pt x="589" y="541"/>
                  </a:lnTo>
                  <a:lnTo>
                    <a:pt x="608" y="516"/>
                  </a:lnTo>
                  <a:lnTo>
                    <a:pt x="623" y="490"/>
                  </a:lnTo>
                  <a:lnTo>
                    <a:pt x="638" y="459"/>
                  </a:lnTo>
                  <a:lnTo>
                    <a:pt x="650" y="429"/>
                  </a:lnTo>
                  <a:lnTo>
                    <a:pt x="658" y="398"/>
                  </a:lnTo>
                  <a:lnTo>
                    <a:pt x="663" y="366"/>
                  </a:lnTo>
                  <a:lnTo>
                    <a:pt x="663" y="332"/>
                  </a:lnTo>
                  <a:lnTo>
                    <a:pt x="598" y="332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" name="Line 65"/>
            <p:cNvSpPr>
              <a:spLocks noChangeShapeType="1"/>
            </p:cNvSpPr>
            <p:nvPr/>
          </p:nvSpPr>
          <p:spPr bwMode="auto">
            <a:xfrm>
              <a:off x="3896194" y="570888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57722" y="2727954"/>
            <a:ext cx="838200" cy="1133475"/>
            <a:chOff x="3076575" y="5394325"/>
            <a:chExt cx="838200" cy="1133475"/>
          </a:xfrm>
          <a:solidFill>
            <a:srgbClr val="0065BD"/>
          </a:solidFill>
        </p:grpSpPr>
        <p:sp>
          <p:nvSpPr>
            <p:cNvPr id="25" name="Freeform 214"/>
            <p:cNvSpPr>
              <a:spLocks noEditPoints="1"/>
            </p:cNvSpPr>
            <p:nvPr/>
          </p:nvSpPr>
          <p:spPr bwMode="auto">
            <a:xfrm>
              <a:off x="3336925" y="5394325"/>
              <a:ext cx="304800" cy="617538"/>
            </a:xfrm>
            <a:custGeom>
              <a:avLst/>
              <a:gdLst>
                <a:gd name="T0" fmla="*/ 97 w 192"/>
                <a:gd name="T1" fmla="*/ 133 h 389"/>
                <a:gd name="T2" fmla="*/ 46 w 192"/>
                <a:gd name="T3" fmla="*/ 172 h 389"/>
                <a:gd name="T4" fmla="*/ 25 w 192"/>
                <a:gd name="T5" fmla="*/ 196 h 389"/>
                <a:gd name="T6" fmla="*/ 6 w 192"/>
                <a:gd name="T7" fmla="*/ 225 h 389"/>
                <a:gd name="T8" fmla="*/ 2 w 192"/>
                <a:gd name="T9" fmla="*/ 240 h 389"/>
                <a:gd name="T10" fmla="*/ 0 w 192"/>
                <a:gd name="T11" fmla="*/ 269 h 389"/>
                <a:gd name="T12" fmla="*/ 8 w 192"/>
                <a:gd name="T13" fmla="*/ 295 h 389"/>
                <a:gd name="T14" fmla="*/ 21 w 192"/>
                <a:gd name="T15" fmla="*/ 322 h 389"/>
                <a:gd name="T16" fmla="*/ 48 w 192"/>
                <a:gd name="T17" fmla="*/ 354 h 389"/>
                <a:gd name="T18" fmla="*/ 82 w 192"/>
                <a:gd name="T19" fmla="*/ 387 h 389"/>
                <a:gd name="T20" fmla="*/ 86 w 192"/>
                <a:gd name="T21" fmla="*/ 389 h 389"/>
                <a:gd name="T22" fmla="*/ 89 w 192"/>
                <a:gd name="T23" fmla="*/ 387 h 389"/>
                <a:gd name="T24" fmla="*/ 91 w 192"/>
                <a:gd name="T25" fmla="*/ 385 h 389"/>
                <a:gd name="T26" fmla="*/ 91 w 192"/>
                <a:gd name="T27" fmla="*/ 381 h 389"/>
                <a:gd name="T28" fmla="*/ 70 w 192"/>
                <a:gd name="T29" fmla="*/ 335 h 389"/>
                <a:gd name="T30" fmla="*/ 59 w 192"/>
                <a:gd name="T31" fmla="*/ 295 h 389"/>
                <a:gd name="T32" fmla="*/ 53 w 192"/>
                <a:gd name="T33" fmla="*/ 253 h 389"/>
                <a:gd name="T34" fmla="*/ 55 w 192"/>
                <a:gd name="T35" fmla="*/ 246 h 389"/>
                <a:gd name="T36" fmla="*/ 63 w 192"/>
                <a:gd name="T37" fmla="*/ 231 h 389"/>
                <a:gd name="T38" fmla="*/ 88 w 192"/>
                <a:gd name="T39" fmla="*/ 208 h 389"/>
                <a:gd name="T40" fmla="*/ 107 w 192"/>
                <a:gd name="T41" fmla="*/ 191 h 389"/>
                <a:gd name="T42" fmla="*/ 145 w 192"/>
                <a:gd name="T43" fmla="*/ 158 h 389"/>
                <a:gd name="T44" fmla="*/ 177 w 192"/>
                <a:gd name="T45" fmla="*/ 120 h 389"/>
                <a:gd name="T46" fmla="*/ 183 w 192"/>
                <a:gd name="T47" fmla="*/ 111 h 389"/>
                <a:gd name="T48" fmla="*/ 190 w 192"/>
                <a:gd name="T49" fmla="*/ 88 h 389"/>
                <a:gd name="T50" fmla="*/ 192 w 192"/>
                <a:gd name="T51" fmla="*/ 57 h 389"/>
                <a:gd name="T52" fmla="*/ 185 w 192"/>
                <a:gd name="T53" fmla="*/ 25 h 389"/>
                <a:gd name="T54" fmla="*/ 173 w 192"/>
                <a:gd name="T55" fmla="*/ 2 h 389"/>
                <a:gd name="T56" fmla="*/ 169 w 192"/>
                <a:gd name="T57" fmla="*/ 0 h 389"/>
                <a:gd name="T58" fmla="*/ 166 w 192"/>
                <a:gd name="T59" fmla="*/ 0 h 389"/>
                <a:gd name="T60" fmla="*/ 162 w 192"/>
                <a:gd name="T61" fmla="*/ 8 h 389"/>
                <a:gd name="T62" fmla="*/ 164 w 192"/>
                <a:gd name="T63" fmla="*/ 13 h 389"/>
                <a:gd name="T64" fmla="*/ 162 w 192"/>
                <a:gd name="T65" fmla="*/ 44 h 389"/>
                <a:gd name="T66" fmla="*/ 154 w 192"/>
                <a:gd name="T67" fmla="*/ 71 h 389"/>
                <a:gd name="T68" fmla="*/ 148 w 192"/>
                <a:gd name="T69" fmla="*/ 86 h 389"/>
                <a:gd name="T70" fmla="*/ 128 w 192"/>
                <a:gd name="T71" fmla="*/ 109 h 389"/>
                <a:gd name="T72" fmla="*/ 97 w 192"/>
                <a:gd name="T73" fmla="*/ 133 h 389"/>
                <a:gd name="T74" fmla="*/ 97 w 192"/>
                <a:gd name="T75" fmla="*/ 133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389">
                  <a:moveTo>
                    <a:pt x="97" y="133"/>
                  </a:moveTo>
                  <a:lnTo>
                    <a:pt x="97" y="133"/>
                  </a:lnTo>
                  <a:lnTo>
                    <a:pt x="70" y="151"/>
                  </a:lnTo>
                  <a:lnTo>
                    <a:pt x="46" y="172"/>
                  </a:lnTo>
                  <a:lnTo>
                    <a:pt x="34" y="183"/>
                  </a:lnTo>
                  <a:lnTo>
                    <a:pt x="25" y="196"/>
                  </a:lnTo>
                  <a:lnTo>
                    <a:pt x="15" y="210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2" y="240"/>
                  </a:lnTo>
                  <a:lnTo>
                    <a:pt x="0" y="253"/>
                  </a:lnTo>
                  <a:lnTo>
                    <a:pt x="0" y="269"/>
                  </a:lnTo>
                  <a:lnTo>
                    <a:pt x="2" y="282"/>
                  </a:lnTo>
                  <a:lnTo>
                    <a:pt x="8" y="295"/>
                  </a:lnTo>
                  <a:lnTo>
                    <a:pt x="13" y="309"/>
                  </a:lnTo>
                  <a:lnTo>
                    <a:pt x="21" y="322"/>
                  </a:lnTo>
                  <a:lnTo>
                    <a:pt x="29" y="333"/>
                  </a:lnTo>
                  <a:lnTo>
                    <a:pt x="48" y="354"/>
                  </a:lnTo>
                  <a:lnTo>
                    <a:pt x="63" y="372"/>
                  </a:lnTo>
                  <a:lnTo>
                    <a:pt x="82" y="387"/>
                  </a:lnTo>
                  <a:lnTo>
                    <a:pt x="82" y="387"/>
                  </a:lnTo>
                  <a:lnTo>
                    <a:pt x="86" y="389"/>
                  </a:lnTo>
                  <a:lnTo>
                    <a:pt x="86" y="389"/>
                  </a:lnTo>
                  <a:lnTo>
                    <a:pt x="89" y="387"/>
                  </a:lnTo>
                  <a:lnTo>
                    <a:pt x="89" y="387"/>
                  </a:lnTo>
                  <a:lnTo>
                    <a:pt x="91" y="385"/>
                  </a:lnTo>
                  <a:lnTo>
                    <a:pt x="91" y="381"/>
                  </a:lnTo>
                  <a:lnTo>
                    <a:pt x="91" y="381"/>
                  </a:lnTo>
                  <a:lnTo>
                    <a:pt x="84" y="368"/>
                  </a:lnTo>
                  <a:lnTo>
                    <a:pt x="70" y="335"/>
                  </a:lnTo>
                  <a:lnTo>
                    <a:pt x="65" y="316"/>
                  </a:lnTo>
                  <a:lnTo>
                    <a:pt x="59" y="295"/>
                  </a:lnTo>
                  <a:lnTo>
                    <a:pt x="55" y="272"/>
                  </a:lnTo>
                  <a:lnTo>
                    <a:pt x="53" y="253"/>
                  </a:lnTo>
                  <a:lnTo>
                    <a:pt x="53" y="253"/>
                  </a:lnTo>
                  <a:lnTo>
                    <a:pt x="55" y="246"/>
                  </a:lnTo>
                  <a:lnTo>
                    <a:pt x="59" y="238"/>
                  </a:lnTo>
                  <a:lnTo>
                    <a:pt x="63" y="231"/>
                  </a:lnTo>
                  <a:lnTo>
                    <a:pt x="70" y="223"/>
                  </a:lnTo>
                  <a:lnTo>
                    <a:pt x="88" y="208"/>
                  </a:lnTo>
                  <a:lnTo>
                    <a:pt x="107" y="191"/>
                  </a:lnTo>
                  <a:lnTo>
                    <a:pt x="107" y="191"/>
                  </a:lnTo>
                  <a:lnTo>
                    <a:pt x="126" y="175"/>
                  </a:lnTo>
                  <a:lnTo>
                    <a:pt x="145" y="158"/>
                  </a:lnTo>
                  <a:lnTo>
                    <a:pt x="162" y="141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83" y="111"/>
                  </a:lnTo>
                  <a:lnTo>
                    <a:pt x="187" y="99"/>
                  </a:lnTo>
                  <a:lnTo>
                    <a:pt x="190" y="88"/>
                  </a:lnTo>
                  <a:lnTo>
                    <a:pt x="192" y="78"/>
                  </a:lnTo>
                  <a:lnTo>
                    <a:pt x="192" y="57"/>
                  </a:lnTo>
                  <a:lnTo>
                    <a:pt x="188" y="40"/>
                  </a:lnTo>
                  <a:lnTo>
                    <a:pt x="185" y="25"/>
                  </a:lnTo>
                  <a:lnTo>
                    <a:pt x="179" y="13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2" y="4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4" y="13"/>
                  </a:lnTo>
                  <a:lnTo>
                    <a:pt x="164" y="32"/>
                  </a:lnTo>
                  <a:lnTo>
                    <a:pt x="162" y="44"/>
                  </a:lnTo>
                  <a:lnTo>
                    <a:pt x="160" y="57"/>
                  </a:lnTo>
                  <a:lnTo>
                    <a:pt x="154" y="71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39" y="97"/>
                  </a:lnTo>
                  <a:lnTo>
                    <a:pt x="128" y="109"/>
                  </a:lnTo>
                  <a:lnTo>
                    <a:pt x="97" y="133"/>
                  </a:lnTo>
                  <a:lnTo>
                    <a:pt x="97" y="133"/>
                  </a:lnTo>
                  <a:close/>
                  <a:moveTo>
                    <a:pt x="97" y="133"/>
                  </a:moveTo>
                  <a:lnTo>
                    <a:pt x="97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215"/>
            <p:cNvSpPr>
              <a:spLocks/>
            </p:cNvSpPr>
            <p:nvPr/>
          </p:nvSpPr>
          <p:spPr bwMode="auto">
            <a:xfrm>
              <a:off x="3336925" y="5394325"/>
              <a:ext cx="304800" cy="617538"/>
            </a:xfrm>
            <a:custGeom>
              <a:avLst/>
              <a:gdLst>
                <a:gd name="T0" fmla="*/ 97 w 192"/>
                <a:gd name="T1" fmla="*/ 133 h 389"/>
                <a:gd name="T2" fmla="*/ 46 w 192"/>
                <a:gd name="T3" fmla="*/ 172 h 389"/>
                <a:gd name="T4" fmla="*/ 25 w 192"/>
                <a:gd name="T5" fmla="*/ 196 h 389"/>
                <a:gd name="T6" fmla="*/ 6 w 192"/>
                <a:gd name="T7" fmla="*/ 225 h 389"/>
                <a:gd name="T8" fmla="*/ 2 w 192"/>
                <a:gd name="T9" fmla="*/ 240 h 389"/>
                <a:gd name="T10" fmla="*/ 0 w 192"/>
                <a:gd name="T11" fmla="*/ 269 h 389"/>
                <a:gd name="T12" fmla="*/ 8 w 192"/>
                <a:gd name="T13" fmla="*/ 295 h 389"/>
                <a:gd name="T14" fmla="*/ 21 w 192"/>
                <a:gd name="T15" fmla="*/ 322 h 389"/>
                <a:gd name="T16" fmla="*/ 48 w 192"/>
                <a:gd name="T17" fmla="*/ 354 h 389"/>
                <a:gd name="T18" fmla="*/ 82 w 192"/>
                <a:gd name="T19" fmla="*/ 387 h 389"/>
                <a:gd name="T20" fmla="*/ 86 w 192"/>
                <a:gd name="T21" fmla="*/ 389 h 389"/>
                <a:gd name="T22" fmla="*/ 89 w 192"/>
                <a:gd name="T23" fmla="*/ 387 h 389"/>
                <a:gd name="T24" fmla="*/ 91 w 192"/>
                <a:gd name="T25" fmla="*/ 385 h 389"/>
                <a:gd name="T26" fmla="*/ 91 w 192"/>
                <a:gd name="T27" fmla="*/ 381 h 389"/>
                <a:gd name="T28" fmla="*/ 70 w 192"/>
                <a:gd name="T29" fmla="*/ 335 h 389"/>
                <a:gd name="T30" fmla="*/ 59 w 192"/>
                <a:gd name="T31" fmla="*/ 295 h 389"/>
                <a:gd name="T32" fmla="*/ 53 w 192"/>
                <a:gd name="T33" fmla="*/ 253 h 389"/>
                <a:gd name="T34" fmla="*/ 55 w 192"/>
                <a:gd name="T35" fmla="*/ 246 h 389"/>
                <a:gd name="T36" fmla="*/ 63 w 192"/>
                <a:gd name="T37" fmla="*/ 231 h 389"/>
                <a:gd name="T38" fmla="*/ 88 w 192"/>
                <a:gd name="T39" fmla="*/ 208 h 389"/>
                <a:gd name="T40" fmla="*/ 107 w 192"/>
                <a:gd name="T41" fmla="*/ 191 h 389"/>
                <a:gd name="T42" fmla="*/ 145 w 192"/>
                <a:gd name="T43" fmla="*/ 158 h 389"/>
                <a:gd name="T44" fmla="*/ 177 w 192"/>
                <a:gd name="T45" fmla="*/ 120 h 389"/>
                <a:gd name="T46" fmla="*/ 183 w 192"/>
                <a:gd name="T47" fmla="*/ 111 h 389"/>
                <a:gd name="T48" fmla="*/ 190 w 192"/>
                <a:gd name="T49" fmla="*/ 88 h 389"/>
                <a:gd name="T50" fmla="*/ 192 w 192"/>
                <a:gd name="T51" fmla="*/ 57 h 389"/>
                <a:gd name="T52" fmla="*/ 185 w 192"/>
                <a:gd name="T53" fmla="*/ 25 h 389"/>
                <a:gd name="T54" fmla="*/ 173 w 192"/>
                <a:gd name="T55" fmla="*/ 2 h 389"/>
                <a:gd name="T56" fmla="*/ 169 w 192"/>
                <a:gd name="T57" fmla="*/ 0 h 389"/>
                <a:gd name="T58" fmla="*/ 166 w 192"/>
                <a:gd name="T59" fmla="*/ 0 h 389"/>
                <a:gd name="T60" fmla="*/ 162 w 192"/>
                <a:gd name="T61" fmla="*/ 8 h 389"/>
                <a:gd name="T62" fmla="*/ 164 w 192"/>
                <a:gd name="T63" fmla="*/ 13 h 389"/>
                <a:gd name="T64" fmla="*/ 162 w 192"/>
                <a:gd name="T65" fmla="*/ 44 h 389"/>
                <a:gd name="T66" fmla="*/ 154 w 192"/>
                <a:gd name="T67" fmla="*/ 71 h 389"/>
                <a:gd name="T68" fmla="*/ 148 w 192"/>
                <a:gd name="T69" fmla="*/ 86 h 389"/>
                <a:gd name="T70" fmla="*/ 128 w 192"/>
                <a:gd name="T71" fmla="*/ 109 h 389"/>
                <a:gd name="T72" fmla="*/ 97 w 192"/>
                <a:gd name="T73" fmla="*/ 133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2" h="389">
                  <a:moveTo>
                    <a:pt x="97" y="133"/>
                  </a:moveTo>
                  <a:lnTo>
                    <a:pt x="97" y="133"/>
                  </a:lnTo>
                  <a:lnTo>
                    <a:pt x="70" y="151"/>
                  </a:lnTo>
                  <a:lnTo>
                    <a:pt x="46" y="172"/>
                  </a:lnTo>
                  <a:lnTo>
                    <a:pt x="34" y="183"/>
                  </a:lnTo>
                  <a:lnTo>
                    <a:pt x="25" y="196"/>
                  </a:lnTo>
                  <a:lnTo>
                    <a:pt x="15" y="210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2" y="240"/>
                  </a:lnTo>
                  <a:lnTo>
                    <a:pt x="0" y="253"/>
                  </a:lnTo>
                  <a:lnTo>
                    <a:pt x="0" y="269"/>
                  </a:lnTo>
                  <a:lnTo>
                    <a:pt x="2" y="282"/>
                  </a:lnTo>
                  <a:lnTo>
                    <a:pt x="8" y="295"/>
                  </a:lnTo>
                  <a:lnTo>
                    <a:pt x="13" y="309"/>
                  </a:lnTo>
                  <a:lnTo>
                    <a:pt x="21" y="322"/>
                  </a:lnTo>
                  <a:lnTo>
                    <a:pt x="29" y="333"/>
                  </a:lnTo>
                  <a:lnTo>
                    <a:pt x="48" y="354"/>
                  </a:lnTo>
                  <a:lnTo>
                    <a:pt x="63" y="372"/>
                  </a:lnTo>
                  <a:lnTo>
                    <a:pt x="82" y="387"/>
                  </a:lnTo>
                  <a:lnTo>
                    <a:pt x="82" y="387"/>
                  </a:lnTo>
                  <a:lnTo>
                    <a:pt x="86" y="389"/>
                  </a:lnTo>
                  <a:lnTo>
                    <a:pt x="86" y="389"/>
                  </a:lnTo>
                  <a:lnTo>
                    <a:pt x="89" y="387"/>
                  </a:lnTo>
                  <a:lnTo>
                    <a:pt x="89" y="387"/>
                  </a:lnTo>
                  <a:lnTo>
                    <a:pt x="91" y="385"/>
                  </a:lnTo>
                  <a:lnTo>
                    <a:pt x="91" y="381"/>
                  </a:lnTo>
                  <a:lnTo>
                    <a:pt x="91" y="381"/>
                  </a:lnTo>
                  <a:lnTo>
                    <a:pt x="84" y="368"/>
                  </a:lnTo>
                  <a:lnTo>
                    <a:pt x="70" y="335"/>
                  </a:lnTo>
                  <a:lnTo>
                    <a:pt x="65" y="316"/>
                  </a:lnTo>
                  <a:lnTo>
                    <a:pt x="59" y="295"/>
                  </a:lnTo>
                  <a:lnTo>
                    <a:pt x="55" y="272"/>
                  </a:lnTo>
                  <a:lnTo>
                    <a:pt x="53" y="253"/>
                  </a:lnTo>
                  <a:lnTo>
                    <a:pt x="53" y="253"/>
                  </a:lnTo>
                  <a:lnTo>
                    <a:pt x="55" y="246"/>
                  </a:lnTo>
                  <a:lnTo>
                    <a:pt x="59" y="238"/>
                  </a:lnTo>
                  <a:lnTo>
                    <a:pt x="63" y="231"/>
                  </a:lnTo>
                  <a:lnTo>
                    <a:pt x="70" y="223"/>
                  </a:lnTo>
                  <a:lnTo>
                    <a:pt x="88" y="208"/>
                  </a:lnTo>
                  <a:lnTo>
                    <a:pt x="107" y="191"/>
                  </a:lnTo>
                  <a:lnTo>
                    <a:pt x="107" y="191"/>
                  </a:lnTo>
                  <a:lnTo>
                    <a:pt x="126" y="175"/>
                  </a:lnTo>
                  <a:lnTo>
                    <a:pt x="145" y="158"/>
                  </a:lnTo>
                  <a:lnTo>
                    <a:pt x="162" y="141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83" y="111"/>
                  </a:lnTo>
                  <a:lnTo>
                    <a:pt x="187" y="99"/>
                  </a:lnTo>
                  <a:lnTo>
                    <a:pt x="190" y="88"/>
                  </a:lnTo>
                  <a:lnTo>
                    <a:pt x="192" y="78"/>
                  </a:lnTo>
                  <a:lnTo>
                    <a:pt x="192" y="57"/>
                  </a:lnTo>
                  <a:lnTo>
                    <a:pt x="188" y="40"/>
                  </a:lnTo>
                  <a:lnTo>
                    <a:pt x="185" y="25"/>
                  </a:lnTo>
                  <a:lnTo>
                    <a:pt x="179" y="13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2" y="4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4" y="13"/>
                  </a:lnTo>
                  <a:lnTo>
                    <a:pt x="164" y="32"/>
                  </a:lnTo>
                  <a:lnTo>
                    <a:pt x="162" y="44"/>
                  </a:lnTo>
                  <a:lnTo>
                    <a:pt x="160" y="57"/>
                  </a:lnTo>
                  <a:lnTo>
                    <a:pt x="154" y="71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39" y="97"/>
                  </a:lnTo>
                  <a:lnTo>
                    <a:pt x="128" y="109"/>
                  </a:lnTo>
                  <a:lnTo>
                    <a:pt x="97" y="133"/>
                  </a:lnTo>
                  <a:lnTo>
                    <a:pt x="97" y="13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Line 216"/>
            <p:cNvSpPr>
              <a:spLocks noChangeShapeType="1"/>
            </p:cNvSpPr>
            <p:nvPr/>
          </p:nvSpPr>
          <p:spPr bwMode="auto">
            <a:xfrm>
              <a:off x="3490913" y="560546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Freeform 217"/>
            <p:cNvSpPr>
              <a:spLocks noEditPoints="1"/>
            </p:cNvSpPr>
            <p:nvPr/>
          </p:nvSpPr>
          <p:spPr bwMode="auto">
            <a:xfrm>
              <a:off x="3484563" y="5630863"/>
              <a:ext cx="230188" cy="422275"/>
            </a:xfrm>
            <a:custGeom>
              <a:avLst/>
              <a:gdLst>
                <a:gd name="T0" fmla="*/ 143 w 145"/>
                <a:gd name="T1" fmla="*/ 9 h 266"/>
                <a:gd name="T2" fmla="*/ 143 w 145"/>
                <a:gd name="T3" fmla="*/ 2 h 266"/>
                <a:gd name="T4" fmla="*/ 141 w 145"/>
                <a:gd name="T5" fmla="*/ 0 h 266"/>
                <a:gd name="T6" fmla="*/ 137 w 145"/>
                <a:gd name="T7" fmla="*/ 0 h 266"/>
                <a:gd name="T8" fmla="*/ 92 w 145"/>
                <a:gd name="T9" fmla="*/ 21 h 266"/>
                <a:gd name="T10" fmla="*/ 42 w 145"/>
                <a:gd name="T11" fmla="*/ 51 h 266"/>
                <a:gd name="T12" fmla="*/ 19 w 145"/>
                <a:gd name="T13" fmla="*/ 70 h 266"/>
                <a:gd name="T14" fmla="*/ 6 w 145"/>
                <a:gd name="T15" fmla="*/ 91 h 266"/>
                <a:gd name="T16" fmla="*/ 0 w 145"/>
                <a:gd name="T17" fmla="*/ 114 h 266"/>
                <a:gd name="T18" fmla="*/ 0 w 145"/>
                <a:gd name="T19" fmla="*/ 129 h 266"/>
                <a:gd name="T20" fmla="*/ 6 w 145"/>
                <a:gd name="T21" fmla="*/ 154 h 266"/>
                <a:gd name="T22" fmla="*/ 21 w 145"/>
                <a:gd name="T23" fmla="*/ 181 h 266"/>
                <a:gd name="T24" fmla="*/ 31 w 145"/>
                <a:gd name="T25" fmla="*/ 194 h 266"/>
                <a:gd name="T26" fmla="*/ 42 w 145"/>
                <a:gd name="T27" fmla="*/ 211 h 266"/>
                <a:gd name="T28" fmla="*/ 42 w 145"/>
                <a:gd name="T29" fmla="*/ 217 h 266"/>
                <a:gd name="T30" fmla="*/ 40 w 145"/>
                <a:gd name="T31" fmla="*/ 236 h 266"/>
                <a:gd name="T32" fmla="*/ 33 w 145"/>
                <a:gd name="T33" fmla="*/ 257 h 266"/>
                <a:gd name="T34" fmla="*/ 31 w 145"/>
                <a:gd name="T35" fmla="*/ 261 h 266"/>
                <a:gd name="T36" fmla="*/ 33 w 145"/>
                <a:gd name="T37" fmla="*/ 264 h 266"/>
                <a:gd name="T38" fmla="*/ 36 w 145"/>
                <a:gd name="T39" fmla="*/ 266 h 266"/>
                <a:gd name="T40" fmla="*/ 40 w 145"/>
                <a:gd name="T41" fmla="*/ 264 h 266"/>
                <a:gd name="T42" fmla="*/ 59 w 145"/>
                <a:gd name="T43" fmla="*/ 249 h 266"/>
                <a:gd name="T44" fmla="*/ 76 w 145"/>
                <a:gd name="T45" fmla="*/ 226 h 266"/>
                <a:gd name="T46" fmla="*/ 88 w 145"/>
                <a:gd name="T47" fmla="*/ 198 h 266"/>
                <a:gd name="T48" fmla="*/ 86 w 145"/>
                <a:gd name="T49" fmla="*/ 181 h 266"/>
                <a:gd name="T50" fmla="*/ 82 w 145"/>
                <a:gd name="T51" fmla="*/ 169 h 266"/>
                <a:gd name="T52" fmla="*/ 67 w 145"/>
                <a:gd name="T53" fmla="*/ 141 h 266"/>
                <a:gd name="T54" fmla="*/ 59 w 145"/>
                <a:gd name="T55" fmla="*/ 127 h 266"/>
                <a:gd name="T56" fmla="*/ 54 w 145"/>
                <a:gd name="T57" fmla="*/ 110 h 266"/>
                <a:gd name="T58" fmla="*/ 55 w 145"/>
                <a:gd name="T59" fmla="*/ 95 h 266"/>
                <a:gd name="T60" fmla="*/ 59 w 145"/>
                <a:gd name="T61" fmla="*/ 87 h 266"/>
                <a:gd name="T62" fmla="*/ 78 w 145"/>
                <a:gd name="T63" fmla="*/ 64 h 266"/>
                <a:gd name="T64" fmla="*/ 143 w 145"/>
                <a:gd name="T65" fmla="*/ 9 h 266"/>
                <a:gd name="T66" fmla="*/ 143 w 145"/>
                <a:gd name="T67" fmla="*/ 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5" h="266">
                  <a:moveTo>
                    <a:pt x="143" y="9"/>
                  </a:moveTo>
                  <a:lnTo>
                    <a:pt x="143" y="9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1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13" y="9"/>
                  </a:lnTo>
                  <a:lnTo>
                    <a:pt x="92" y="21"/>
                  </a:lnTo>
                  <a:lnTo>
                    <a:pt x="67" y="34"/>
                  </a:lnTo>
                  <a:lnTo>
                    <a:pt x="42" y="51"/>
                  </a:lnTo>
                  <a:lnTo>
                    <a:pt x="31" y="61"/>
                  </a:lnTo>
                  <a:lnTo>
                    <a:pt x="19" y="70"/>
                  </a:lnTo>
                  <a:lnTo>
                    <a:pt x="12" y="80"/>
                  </a:lnTo>
                  <a:lnTo>
                    <a:pt x="6" y="91"/>
                  </a:lnTo>
                  <a:lnTo>
                    <a:pt x="0" y="103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29"/>
                  </a:lnTo>
                  <a:lnTo>
                    <a:pt x="2" y="143"/>
                  </a:lnTo>
                  <a:lnTo>
                    <a:pt x="6" y="154"/>
                  </a:lnTo>
                  <a:lnTo>
                    <a:pt x="10" y="163"/>
                  </a:lnTo>
                  <a:lnTo>
                    <a:pt x="21" y="181"/>
                  </a:lnTo>
                  <a:lnTo>
                    <a:pt x="31" y="194"/>
                  </a:lnTo>
                  <a:lnTo>
                    <a:pt x="31" y="194"/>
                  </a:lnTo>
                  <a:lnTo>
                    <a:pt x="38" y="203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7"/>
                  </a:lnTo>
                  <a:lnTo>
                    <a:pt x="42" y="223"/>
                  </a:lnTo>
                  <a:lnTo>
                    <a:pt x="40" y="236"/>
                  </a:lnTo>
                  <a:lnTo>
                    <a:pt x="36" y="249"/>
                  </a:lnTo>
                  <a:lnTo>
                    <a:pt x="33" y="257"/>
                  </a:lnTo>
                  <a:lnTo>
                    <a:pt x="33" y="257"/>
                  </a:lnTo>
                  <a:lnTo>
                    <a:pt x="31" y="261"/>
                  </a:lnTo>
                  <a:lnTo>
                    <a:pt x="33" y="264"/>
                  </a:lnTo>
                  <a:lnTo>
                    <a:pt x="33" y="264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50" y="257"/>
                  </a:lnTo>
                  <a:lnTo>
                    <a:pt x="59" y="249"/>
                  </a:lnTo>
                  <a:lnTo>
                    <a:pt x="69" y="240"/>
                  </a:lnTo>
                  <a:lnTo>
                    <a:pt x="76" y="226"/>
                  </a:lnTo>
                  <a:lnTo>
                    <a:pt x="84" y="213"/>
                  </a:lnTo>
                  <a:lnTo>
                    <a:pt x="88" y="198"/>
                  </a:lnTo>
                  <a:lnTo>
                    <a:pt x="88" y="188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2" y="169"/>
                  </a:lnTo>
                  <a:lnTo>
                    <a:pt x="78" y="158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59" y="127"/>
                  </a:lnTo>
                  <a:lnTo>
                    <a:pt x="54" y="116"/>
                  </a:lnTo>
                  <a:lnTo>
                    <a:pt x="54" y="110"/>
                  </a:lnTo>
                  <a:lnTo>
                    <a:pt x="54" y="103"/>
                  </a:lnTo>
                  <a:lnTo>
                    <a:pt x="55" y="95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67" y="76"/>
                  </a:lnTo>
                  <a:lnTo>
                    <a:pt x="78" y="64"/>
                  </a:lnTo>
                  <a:lnTo>
                    <a:pt x="107" y="40"/>
                  </a:lnTo>
                  <a:lnTo>
                    <a:pt x="143" y="9"/>
                  </a:lnTo>
                  <a:lnTo>
                    <a:pt x="143" y="9"/>
                  </a:lnTo>
                  <a:close/>
                  <a:moveTo>
                    <a:pt x="143" y="9"/>
                  </a:moveTo>
                  <a:lnTo>
                    <a:pt x="14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18"/>
            <p:cNvSpPr>
              <a:spLocks/>
            </p:cNvSpPr>
            <p:nvPr/>
          </p:nvSpPr>
          <p:spPr bwMode="auto">
            <a:xfrm>
              <a:off x="3484563" y="5630863"/>
              <a:ext cx="230188" cy="422275"/>
            </a:xfrm>
            <a:custGeom>
              <a:avLst/>
              <a:gdLst>
                <a:gd name="T0" fmla="*/ 143 w 145"/>
                <a:gd name="T1" fmla="*/ 9 h 266"/>
                <a:gd name="T2" fmla="*/ 143 w 145"/>
                <a:gd name="T3" fmla="*/ 2 h 266"/>
                <a:gd name="T4" fmla="*/ 141 w 145"/>
                <a:gd name="T5" fmla="*/ 0 h 266"/>
                <a:gd name="T6" fmla="*/ 137 w 145"/>
                <a:gd name="T7" fmla="*/ 0 h 266"/>
                <a:gd name="T8" fmla="*/ 92 w 145"/>
                <a:gd name="T9" fmla="*/ 21 h 266"/>
                <a:gd name="T10" fmla="*/ 42 w 145"/>
                <a:gd name="T11" fmla="*/ 51 h 266"/>
                <a:gd name="T12" fmla="*/ 19 w 145"/>
                <a:gd name="T13" fmla="*/ 70 h 266"/>
                <a:gd name="T14" fmla="*/ 6 w 145"/>
                <a:gd name="T15" fmla="*/ 91 h 266"/>
                <a:gd name="T16" fmla="*/ 0 w 145"/>
                <a:gd name="T17" fmla="*/ 114 h 266"/>
                <a:gd name="T18" fmla="*/ 0 w 145"/>
                <a:gd name="T19" fmla="*/ 129 h 266"/>
                <a:gd name="T20" fmla="*/ 6 w 145"/>
                <a:gd name="T21" fmla="*/ 154 h 266"/>
                <a:gd name="T22" fmla="*/ 21 w 145"/>
                <a:gd name="T23" fmla="*/ 181 h 266"/>
                <a:gd name="T24" fmla="*/ 31 w 145"/>
                <a:gd name="T25" fmla="*/ 194 h 266"/>
                <a:gd name="T26" fmla="*/ 42 w 145"/>
                <a:gd name="T27" fmla="*/ 211 h 266"/>
                <a:gd name="T28" fmla="*/ 42 w 145"/>
                <a:gd name="T29" fmla="*/ 217 h 266"/>
                <a:gd name="T30" fmla="*/ 40 w 145"/>
                <a:gd name="T31" fmla="*/ 236 h 266"/>
                <a:gd name="T32" fmla="*/ 33 w 145"/>
                <a:gd name="T33" fmla="*/ 257 h 266"/>
                <a:gd name="T34" fmla="*/ 31 w 145"/>
                <a:gd name="T35" fmla="*/ 261 h 266"/>
                <a:gd name="T36" fmla="*/ 33 w 145"/>
                <a:gd name="T37" fmla="*/ 264 h 266"/>
                <a:gd name="T38" fmla="*/ 36 w 145"/>
                <a:gd name="T39" fmla="*/ 266 h 266"/>
                <a:gd name="T40" fmla="*/ 40 w 145"/>
                <a:gd name="T41" fmla="*/ 264 h 266"/>
                <a:gd name="T42" fmla="*/ 59 w 145"/>
                <a:gd name="T43" fmla="*/ 249 h 266"/>
                <a:gd name="T44" fmla="*/ 76 w 145"/>
                <a:gd name="T45" fmla="*/ 226 h 266"/>
                <a:gd name="T46" fmla="*/ 88 w 145"/>
                <a:gd name="T47" fmla="*/ 198 h 266"/>
                <a:gd name="T48" fmla="*/ 86 w 145"/>
                <a:gd name="T49" fmla="*/ 181 h 266"/>
                <a:gd name="T50" fmla="*/ 82 w 145"/>
                <a:gd name="T51" fmla="*/ 169 h 266"/>
                <a:gd name="T52" fmla="*/ 67 w 145"/>
                <a:gd name="T53" fmla="*/ 141 h 266"/>
                <a:gd name="T54" fmla="*/ 59 w 145"/>
                <a:gd name="T55" fmla="*/ 127 h 266"/>
                <a:gd name="T56" fmla="*/ 54 w 145"/>
                <a:gd name="T57" fmla="*/ 110 h 266"/>
                <a:gd name="T58" fmla="*/ 55 w 145"/>
                <a:gd name="T59" fmla="*/ 95 h 266"/>
                <a:gd name="T60" fmla="*/ 59 w 145"/>
                <a:gd name="T61" fmla="*/ 87 h 266"/>
                <a:gd name="T62" fmla="*/ 78 w 145"/>
                <a:gd name="T63" fmla="*/ 64 h 266"/>
                <a:gd name="T64" fmla="*/ 143 w 145"/>
                <a:gd name="T65" fmla="*/ 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5" h="266">
                  <a:moveTo>
                    <a:pt x="143" y="9"/>
                  </a:moveTo>
                  <a:lnTo>
                    <a:pt x="143" y="9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1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13" y="9"/>
                  </a:lnTo>
                  <a:lnTo>
                    <a:pt x="92" y="21"/>
                  </a:lnTo>
                  <a:lnTo>
                    <a:pt x="67" y="34"/>
                  </a:lnTo>
                  <a:lnTo>
                    <a:pt x="42" y="51"/>
                  </a:lnTo>
                  <a:lnTo>
                    <a:pt x="31" y="61"/>
                  </a:lnTo>
                  <a:lnTo>
                    <a:pt x="19" y="70"/>
                  </a:lnTo>
                  <a:lnTo>
                    <a:pt x="12" y="80"/>
                  </a:lnTo>
                  <a:lnTo>
                    <a:pt x="6" y="91"/>
                  </a:lnTo>
                  <a:lnTo>
                    <a:pt x="0" y="103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29"/>
                  </a:lnTo>
                  <a:lnTo>
                    <a:pt x="2" y="143"/>
                  </a:lnTo>
                  <a:lnTo>
                    <a:pt x="6" y="154"/>
                  </a:lnTo>
                  <a:lnTo>
                    <a:pt x="10" y="163"/>
                  </a:lnTo>
                  <a:lnTo>
                    <a:pt x="21" y="181"/>
                  </a:lnTo>
                  <a:lnTo>
                    <a:pt x="31" y="194"/>
                  </a:lnTo>
                  <a:lnTo>
                    <a:pt x="31" y="194"/>
                  </a:lnTo>
                  <a:lnTo>
                    <a:pt x="38" y="203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7"/>
                  </a:lnTo>
                  <a:lnTo>
                    <a:pt x="42" y="223"/>
                  </a:lnTo>
                  <a:lnTo>
                    <a:pt x="40" y="236"/>
                  </a:lnTo>
                  <a:lnTo>
                    <a:pt x="36" y="249"/>
                  </a:lnTo>
                  <a:lnTo>
                    <a:pt x="33" y="257"/>
                  </a:lnTo>
                  <a:lnTo>
                    <a:pt x="33" y="257"/>
                  </a:lnTo>
                  <a:lnTo>
                    <a:pt x="31" y="261"/>
                  </a:lnTo>
                  <a:lnTo>
                    <a:pt x="33" y="264"/>
                  </a:lnTo>
                  <a:lnTo>
                    <a:pt x="33" y="264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50" y="257"/>
                  </a:lnTo>
                  <a:lnTo>
                    <a:pt x="59" y="249"/>
                  </a:lnTo>
                  <a:lnTo>
                    <a:pt x="69" y="240"/>
                  </a:lnTo>
                  <a:lnTo>
                    <a:pt x="76" y="226"/>
                  </a:lnTo>
                  <a:lnTo>
                    <a:pt x="84" y="213"/>
                  </a:lnTo>
                  <a:lnTo>
                    <a:pt x="88" y="198"/>
                  </a:lnTo>
                  <a:lnTo>
                    <a:pt x="88" y="188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2" y="169"/>
                  </a:lnTo>
                  <a:lnTo>
                    <a:pt x="78" y="158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59" y="127"/>
                  </a:lnTo>
                  <a:lnTo>
                    <a:pt x="54" y="116"/>
                  </a:lnTo>
                  <a:lnTo>
                    <a:pt x="54" y="110"/>
                  </a:lnTo>
                  <a:lnTo>
                    <a:pt x="54" y="103"/>
                  </a:lnTo>
                  <a:lnTo>
                    <a:pt x="55" y="95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67" y="76"/>
                  </a:lnTo>
                  <a:lnTo>
                    <a:pt x="78" y="64"/>
                  </a:lnTo>
                  <a:lnTo>
                    <a:pt x="107" y="40"/>
                  </a:lnTo>
                  <a:lnTo>
                    <a:pt x="143" y="9"/>
                  </a:lnTo>
                  <a:lnTo>
                    <a:pt x="143" y="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Line 219"/>
            <p:cNvSpPr>
              <a:spLocks noChangeShapeType="1"/>
            </p:cNvSpPr>
            <p:nvPr/>
          </p:nvSpPr>
          <p:spPr bwMode="auto">
            <a:xfrm>
              <a:off x="3711575" y="56451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1" name="Freeform 220"/>
            <p:cNvSpPr>
              <a:spLocks noEditPoints="1"/>
            </p:cNvSpPr>
            <p:nvPr/>
          </p:nvSpPr>
          <p:spPr bwMode="auto">
            <a:xfrm>
              <a:off x="3163888" y="6005513"/>
              <a:ext cx="560388" cy="127000"/>
            </a:xfrm>
            <a:custGeom>
              <a:avLst/>
              <a:gdLst>
                <a:gd name="T0" fmla="*/ 2 w 353"/>
                <a:gd name="T1" fmla="*/ 30 h 80"/>
                <a:gd name="T2" fmla="*/ 0 w 353"/>
                <a:gd name="T3" fmla="*/ 40 h 80"/>
                <a:gd name="T4" fmla="*/ 4 w 353"/>
                <a:gd name="T5" fmla="*/ 49 h 80"/>
                <a:gd name="T6" fmla="*/ 12 w 353"/>
                <a:gd name="T7" fmla="*/ 57 h 80"/>
                <a:gd name="T8" fmla="*/ 37 w 353"/>
                <a:gd name="T9" fmla="*/ 68 h 80"/>
                <a:gd name="T10" fmla="*/ 73 w 353"/>
                <a:gd name="T11" fmla="*/ 76 h 80"/>
                <a:gd name="T12" fmla="*/ 147 w 353"/>
                <a:gd name="T13" fmla="*/ 80 h 80"/>
                <a:gd name="T14" fmla="*/ 147 w 353"/>
                <a:gd name="T15" fmla="*/ 80 h 80"/>
                <a:gd name="T16" fmla="*/ 179 w 353"/>
                <a:gd name="T17" fmla="*/ 80 h 80"/>
                <a:gd name="T18" fmla="*/ 259 w 353"/>
                <a:gd name="T19" fmla="*/ 72 h 80"/>
                <a:gd name="T20" fmla="*/ 311 w 353"/>
                <a:gd name="T21" fmla="*/ 57 h 80"/>
                <a:gd name="T22" fmla="*/ 341 w 353"/>
                <a:gd name="T23" fmla="*/ 42 h 80"/>
                <a:gd name="T24" fmla="*/ 351 w 353"/>
                <a:gd name="T25" fmla="*/ 36 h 80"/>
                <a:gd name="T26" fmla="*/ 353 w 353"/>
                <a:gd name="T27" fmla="*/ 28 h 80"/>
                <a:gd name="T28" fmla="*/ 351 w 353"/>
                <a:gd name="T29" fmla="*/ 27 h 80"/>
                <a:gd name="T30" fmla="*/ 347 w 353"/>
                <a:gd name="T31" fmla="*/ 25 h 80"/>
                <a:gd name="T32" fmla="*/ 307 w 353"/>
                <a:gd name="T33" fmla="*/ 32 h 80"/>
                <a:gd name="T34" fmla="*/ 212 w 353"/>
                <a:gd name="T35" fmla="*/ 40 h 80"/>
                <a:gd name="T36" fmla="*/ 164 w 353"/>
                <a:gd name="T37" fmla="*/ 42 h 80"/>
                <a:gd name="T38" fmla="*/ 92 w 353"/>
                <a:gd name="T39" fmla="*/ 40 h 80"/>
                <a:gd name="T40" fmla="*/ 61 w 353"/>
                <a:gd name="T41" fmla="*/ 34 h 80"/>
                <a:gd name="T42" fmla="*/ 69 w 353"/>
                <a:gd name="T43" fmla="*/ 28 h 80"/>
                <a:gd name="T44" fmla="*/ 99 w 353"/>
                <a:gd name="T45" fmla="*/ 17 h 80"/>
                <a:gd name="T46" fmla="*/ 122 w 353"/>
                <a:gd name="T47" fmla="*/ 11 h 80"/>
                <a:gd name="T48" fmla="*/ 126 w 353"/>
                <a:gd name="T49" fmla="*/ 6 h 80"/>
                <a:gd name="T50" fmla="*/ 124 w 353"/>
                <a:gd name="T51" fmla="*/ 2 h 80"/>
                <a:gd name="T52" fmla="*/ 120 w 353"/>
                <a:gd name="T53" fmla="*/ 0 h 80"/>
                <a:gd name="T54" fmla="*/ 58 w 353"/>
                <a:gd name="T55" fmla="*/ 6 h 80"/>
                <a:gd name="T56" fmla="*/ 21 w 353"/>
                <a:gd name="T57" fmla="*/ 13 h 80"/>
                <a:gd name="T58" fmla="*/ 4 w 353"/>
                <a:gd name="T59" fmla="*/ 27 h 80"/>
                <a:gd name="T60" fmla="*/ 2 w 353"/>
                <a:gd name="T61" fmla="*/ 30 h 80"/>
                <a:gd name="T62" fmla="*/ 2 w 353"/>
                <a:gd name="T63" fmla="*/ 3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3" h="80">
                  <a:moveTo>
                    <a:pt x="2" y="30"/>
                  </a:moveTo>
                  <a:lnTo>
                    <a:pt x="2" y="3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2" y="46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12" y="57"/>
                  </a:lnTo>
                  <a:lnTo>
                    <a:pt x="23" y="63"/>
                  </a:lnTo>
                  <a:lnTo>
                    <a:pt x="37" y="68"/>
                  </a:lnTo>
                  <a:lnTo>
                    <a:pt x="52" y="72"/>
                  </a:lnTo>
                  <a:lnTo>
                    <a:pt x="73" y="76"/>
                  </a:lnTo>
                  <a:lnTo>
                    <a:pt x="94" y="78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223" y="78"/>
                  </a:lnTo>
                  <a:lnTo>
                    <a:pt x="259" y="72"/>
                  </a:lnTo>
                  <a:lnTo>
                    <a:pt x="288" y="65"/>
                  </a:lnTo>
                  <a:lnTo>
                    <a:pt x="311" y="57"/>
                  </a:lnTo>
                  <a:lnTo>
                    <a:pt x="330" y="49"/>
                  </a:lnTo>
                  <a:lnTo>
                    <a:pt x="341" y="42"/>
                  </a:lnTo>
                  <a:lnTo>
                    <a:pt x="351" y="36"/>
                  </a:lnTo>
                  <a:lnTo>
                    <a:pt x="351" y="36"/>
                  </a:lnTo>
                  <a:lnTo>
                    <a:pt x="353" y="32"/>
                  </a:lnTo>
                  <a:lnTo>
                    <a:pt x="353" y="28"/>
                  </a:lnTo>
                  <a:lnTo>
                    <a:pt x="353" y="28"/>
                  </a:lnTo>
                  <a:lnTo>
                    <a:pt x="351" y="27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28" y="30"/>
                  </a:lnTo>
                  <a:lnTo>
                    <a:pt x="307" y="32"/>
                  </a:lnTo>
                  <a:lnTo>
                    <a:pt x="261" y="38"/>
                  </a:lnTo>
                  <a:lnTo>
                    <a:pt x="212" y="40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24" y="42"/>
                  </a:lnTo>
                  <a:lnTo>
                    <a:pt x="92" y="40"/>
                  </a:lnTo>
                  <a:lnTo>
                    <a:pt x="73" y="36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9" y="28"/>
                  </a:lnTo>
                  <a:lnTo>
                    <a:pt x="82" y="23"/>
                  </a:lnTo>
                  <a:lnTo>
                    <a:pt x="99" y="17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4" y="9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4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96" y="2"/>
                  </a:lnTo>
                  <a:lnTo>
                    <a:pt x="58" y="6"/>
                  </a:lnTo>
                  <a:lnTo>
                    <a:pt x="38" y="9"/>
                  </a:lnTo>
                  <a:lnTo>
                    <a:pt x="21" y="13"/>
                  </a:lnTo>
                  <a:lnTo>
                    <a:pt x="10" y="21"/>
                  </a:lnTo>
                  <a:lnTo>
                    <a:pt x="4" y="27"/>
                  </a:lnTo>
                  <a:lnTo>
                    <a:pt x="2" y="30"/>
                  </a:lnTo>
                  <a:lnTo>
                    <a:pt x="2" y="30"/>
                  </a:lnTo>
                  <a:close/>
                  <a:moveTo>
                    <a:pt x="2" y="30"/>
                  </a:moveTo>
                  <a:lnTo>
                    <a:pt x="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2" name="Freeform 221"/>
            <p:cNvSpPr>
              <a:spLocks/>
            </p:cNvSpPr>
            <p:nvPr/>
          </p:nvSpPr>
          <p:spPr bwMode="auto">
            <a:xfrm>
              <a:off x="3163888" y="6005513"/>
              <a:ext cx="560388" cy="127000"/>
            </a:xfrm>
            <a:custGeom>
              <a:avLst/>
              <a:gdLst>
                <a:gd name="T0" fmla="*/ 2 w 353"/>
                <a:gd name="T1" fmla="*/ 30 h 80"/>
                <a:gd name="T2" fmla="*/ 2 w 353"/>
                <a:gd name="T3" fmla="*/ 30 h 80"/>
                <a:gd name="T4" fmla="*/ 0 w 353"/>
                <a:gd name="T5" fmla="*/ 36 h 80"/>
                <a:gd name="T6" fmla="*/ 0 w 353"/>
                <a:gd name="T7" fmla="*/ 40 h 80"/>
                <a:gd name="T8" fmla="*/ 2 w 353"/>
                <a:gd name="T9" fmla="*/ 46 h 80"/>
                <a:gd name="T10" fmla="*/ 4 w 353"/>
                <a:gd name="T11" fmla="*/ 49 h 80"/>
                <a:gd name="T12" fmla="*/ 4 w 353"/>
                <a:gd name="T13" fmla="*/ 49 h 80"/>
                <a:gd name="T14" fmla="*/ 12 w 353"/>
                <a:gd name="T15" fmla="*/ 57 h 80"/>
                <a:gd name="T16" fmla="*/ 23 w 353"/>
                <a:gd name="T17" fmla="*/ 63 h 80"/>
                <a:gd name="T18" fmla="*/ 37 w 353"/>
                <a:gd name="T19" fmla="*/ 68 h 80"/>
                <a:gd name="T20" fmla="*/ 52 w 353"/>
                <a:gd name="T21" fmla="*/ 72 h 80"/>
                <a:gd name="T22" fmla="*/ 73 w 353"/>
                <a:gd name="T23" fmla="*/ 76 h 80"/>
                <a:gd name="T24" fmla="*/ 94 w 353"/>
                <a:gd name="T25" fmla="*/ 78 h 80"/>
                <a:gd name="T26" fmla="*/ 147 w 353"/>
                <a:gd name="T27" fmla="*/ 80 h 80"/>
                <a:gd name="T28" fmla="*/ 147 w 353"/>
                <a:gd name="T29" fmla="*/ 80 h 80"/>
                <a:gd name="T30" fmla="*/ 147 w 353"/>
                <a:gd name="T31" fmla="*/ 80 h 80"/>
                <a:gd name="T32" fmla="*/ 179 w 353"/>
                <a:gd name="T33" fmla="*/ 80 h 80"/>
                <a:gd name="T34" fmla="*/ 179 w 353"/>
                <a:gd name="T35" fmla="*/ 80 h 80"/>
                <a:gd name="T36" fmla="*/ 223 w 353"/>
                <a:gd name="T37" fmla="*/ 78 h 80"/>
                <a:gd name="T38" fmla="*/ 259 w 353"/>
                <a:gd name="T39" fmla="*/ 72 h 80"/>
                <a:gd name="T40" fmla="*/ 288 w 353"/>
                <a:gd name="T41" fmla="*/ 65 h 80"/>
                <a:gd name="T42" fmla="*/ 311 w 353"/>
                <a:gd name="T43" fmla="*/ 57 h 80"/>
                <a:gd name="T44" fmla="*/ 330 w 353"/>
                <a:gd name="T45" fmla="*/ 49 h 80"/>
                <a:gd name="T46" fmla="*/ 341 w 353"/>
                <a:gd name="T47" fmla="*/ 42 h 80"/>
                <a:gd name="T48" fmla="*/ 351 w 353"/>
                <a:gd name="T49" fmla="*/ 36 h 80"/>
                <a:gd name="T50" fmla="*/ 351 w 353"/>
                <a:gd name="T51" fmla="*/ 36 h 80"/>
                <a:gd name="T52" fmla="*/ 353 w 353"/>
                <a:gd name="T53" fmla="*/ 32 h 80"/>
                <a:gd name="T54" fmla="*/ 353 w 353"/>
                <a:gd name="T55" fmla="*/ 28 h 80"/>
                <a:gd name="T56" fmla="*/ 353 w 353"/>
                <a:gd name="T57" fmla="*/ 28 h 80"/>
                <a:gd name="T58" fmla="*/ 351 w 353"/>
                <a:gd name="T59" fmla="*/ 27 h 80"/>
                <a:gd name="T60" fmla="*/ 347 w 353"/>
                <a:gd name="T61" fmla="*/ 25 h 80"/>
                <a:gd name="T62" fmla="*/ 347 w 353"/>
                <a:gd name="T63" fmla="*/ 25 h 80"/>
                <a:gd name="T64" fmla="*/ 328 w 353"/>
                <a:gd name="T65" fmla="*/ 30 h 80"/>
                <a:gd name="T66" fmla="*/ 307 w 353"/>
                <a:gd name="T67" fmla="*/ 32 h 80"/>
                <a:gd name="T68" fmla="*/ 261 w 353"/>
                <a:gd name="T69" fmla="*/ 38 h 80"/>
                <a:gd name="T70" fmla="*/ 212 w 353"/>
                <a:gd name="T71" fmla="*/ 40 h 80"/>
                <a:gd name="T72" fmla="*/ 164 w 353"/>
                <a:gd name="T73" fmla="*/ 42 h 80"/>
                <a:gd name="T74" fmla="*/ 164 w 353"/>
                <a:gd name="T75" fmla="*/ 42 h 80"/>
                <a:gd name="T76" fmla="*/ 124 w 353"/>
                <a:gd name="T77" fmla="*/ 42 h 80"/>
                <a:gd name="T78" fmla="*/ 92 w 353"/>
                <a:gd name="T79" fmla="*/ 40 h 80"/>
                <a:gd name="T80" fmla="*/ 73 w 353"/>
                <a:gd name="T81" fmla="*/ 36 h 80"/>
                <a:gd name="T82" fmla="*/ 61 w 353"/>
                <a:gd name="T83" fmla="*/ 34 h 80"/>
                <a:gd name="T84" fmla="*/ 61 w 353"/>
                <a:gd name="T85" fmla="*/ 34 h 80"/>
                <a:gd name="T86" fmla="*/ 69 w 353"/>
                <a:gd name="T87" fmla="*/ 28 h 80"/>
                <a:gd name="T88" fmla="*/ 82 w 353"/>
                <a:gd name="T89" fmla="*/ 23 h 80"/>
                <a:gd name="T90" fmla="*/ 99 w 353"/>
                <a:gd name="T91" fmla="*/ 17 h 80"/>
                <a:gd name="T92" fmla="*/ 122 w 353"/>
                <a:gd name="T93" fmla="*/ 11 h 80"/>
                <a:gd name="T94" fmla="*/ 122 w 353"/>
                <a:gd name="T95" fmla="*/ 11 h 80"/>
                <a:gd name="T96" fmla="*/ 124 w 353"/>
                <a:gd name="T97" fmla="*/ 9 h 80"/>
                <a:gd name="T98" fmla="*/ 126 w 353"/>
                <a:gd name="T99" fmla="*/ 6 h 80"/>
                <a:gd name="T100" fmla="*/ 126 w 353"/>
                <a:gd name="T101" fmla="*/ 6 h 80"/>
                <a:gd name="T102" fmla="*/ 124 w 353"/>
                <a:gd name="T103" fmla="*/ 2 h 80"/>
                <a:gd name="T104" fmla="*/ 120 w 353"/>
                <a:gd name="T105" fmla="*/ 0 h 80"/>
                <a:gd name="T106" fmla="*/ 120 w 353"/>
                <a:gd name="T107" fmla="*/ 0 h 80"/>
                <a:gd name="T108" fmla="*/ 96 w 353"/>
                <a:gd name="T109" fmla="*/ 2 h 80"/>
                <a:gd name="T110" fmla="*/ 58 w 353"/>
                <a:gd name="T111" fmla="*/ 6 h 80"/>
                <a:gd name="T112" fmla="*/ 38 w 353"/>
                <a:gd name="T113" fmla="*/ 9 h 80"/>
                <a:gd name="T114" fmla="*/ 21 w 353"/>
                <a:gd name="T115" fmla="*/ 13 h 80"/>
                <a:gd name="T116" fmla="*/ 10 w 353"/>
                <a:gd name="T117" fmla="*/ 21 h 80"/>
                <a:gd name="T118" fmla="*/ 4 w 353"/>
                <a:gd name="T119" fmla="*/ 27 h 80"/>
                <a:gd name="T120" fmla="*/ 2 w 353"/>
                <a:gd name="T121" fmla="*/ 30 h 80"/>
                <a:gd name="T122" fmla="*/ 2 w 353"/>
                <a:gd name="T123" fmla="*/ 3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80">
                  <a:moveTo>
                    <a:pt x="2" y="30"/>
                  </a:moveTo>
                  <a:lnTo>
                    <a:pt x="2" y="3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2" y="46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12" y="57"/>
                  </a:lnTo>
                  <a:lnTo>
                    <a:pt x="23" y="63"/>
                  </a:lnTo>
                  <a:lnTo>
                    <a:pt x="37" y="68"/>
                  </a:lnTo>
                  <a:lnTo>
                    <a:pt x="52" y="72"/>
                  </a:lnTo>
                  <a:lnTo>
                    <a:pt x="73" y="76"/>
                  </a:lnTo>
                  <a:lnTo>
                    <a:pt x="94" y="78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223" y="78"/>
                  </a:lnTo>
                  <a:lnTo>
                    <a:pt x="259" y="72"/>
                  </a:lnTo>
                  <a:lnTo>
                    <a:pt x="288" y="65"/>
                  </a:lnTo>
                  <a:lnTo>
                    <a:pt x="311" y="57"/>
                  </a:lnTo>
                  <a:lnTo>
                    <a:pt x="330" y="49"/>
                  </a:lnTo>
                  <a:lnTo>
                    <a:pt x="341" y="42"/>
                  </a:lnTo>
                  <a:lnTo>
                    <a:pt x="351" y="36"/>
                  </a:lnTo>
                  <a:lnTo>
                    <a:pt x="351" y="36"/>
                  </a:lnTo>
                  <a:lnTo>
                    <a:pt x="353" y="32"/>
                  </a:lnTo>
                  <a:lnTo>
                    <a:pt x="353" y="28"/>
                  </a:lnTo>
                  <a:lnTo>
                    <a:pt x="353" y="28"/>
                  </a:lnTo>
                  <a:lnTo>
                    <a:pt x="351" y="27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28" y="30"/>
                  </a:lnTo>
                  <a:lnTo>
                    <a:pt x="307" y="32"/>
                  </a:lnTo>
                  <a:lnTo>
                    <a:pt x="261" y="38"/>
                  </a:lnTo>
                  <a:lnTo>
                    <a:pt x="212" y="40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24" y="42"/>
                  </a:lnTo>
                  <a:lnTo>
                    <a:pt x="92" y="40"/>
                  </a:lnTo>
                  <a:lnTo>
                    <a:pt x="73" y="36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9" y="28"/>
                  </a:lnTo>
                  <a:lnTo>
                    <a:pt x="82" y="23"/>
                  </a:lnTo>
                  <a:lnTo>
                    <a:pt x="99" y="17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4" y="9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4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96" y="2"/>
                  </a:lnTo>
                  <a:lnTo>
                    <a:pt x="58" y="6"/>
                  </a:lnTo>
                  <a:lnTo>
                    <a:pt x="38" y="9"/>
                  </a:lnTo>
                  <a:lnTo>
                    <a:pt x="21" y="13"/>
                  </a:lnTo>
                  <a:lnTo>
                    <a:pt x="10" y="21"/>
                  </a:lnTo>
                  <a:lnTo>
                    <a:pt x="4" y="27"/>
                  </a:lnTo>
                  <a:lnTo>
                    <a:pt x="2" y="30"/>
                  </a:lnTo>
                  <a:lnTo>
                    <a:pt x="2" y="3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3" name="Line 222"/>
            <p:cNvSpPr>
              <a:spLocks noChangeShapeType="1"/>
            </p:cNvSpPr>
            <p:nvPr/>
          </p:nvSpPr>
          <p:spPr bwMode="auto">
            <a:xfrm>
              <a:off x="3167063" y="60531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4" name="Freeform 223"/>
            <p:cNvSpPr>
              <a:spLocks noEditPoints="1"/>
            </p:cNvSpPr>
            <p:nvPr/>
          </p:nvSpPr>
          <p:spPr bwMode="auto">
            <a:xfrm>
              <a:off x="3724275" y="5989638"/>
              <a:ext cx="190500" cy="239713"/>
            </a:xfrm>
            <a:custGeom>
              <a:avLst/>
              <a:gdLst>
                <a:gd name="T0" fmla="*/ 63 w 120"/>
                <a:gd name="T1" fmla="*/ 0 h 151"/>
                <a:gd name="T2" fmla="*/ 63 w 120"/>
                <a:gd name="T3" fmla="*/ 0 h 151"/>
                <a:gd name="T4" fmla="*/ 45 w 120"/>
                <a:gd name="T5" fmla="*/ 2 h 151"/>
                <a:gd name="T6" fmla="*/ 28 w 120"/>
                <a:gd name="T7" fmla="*/ 8 h 151"/>
                <a:gd name="T8" fmla="*/ 13 w 120"/>
                <a:gd name="T9" fmla="*/ 14 h 151"/>
                <a:gd name="T10" fmla="*/ 13 w 120"/>
                <a:gd name="T11" fmla="*/ 14 h 151"/>
                <a:gd name="T12" fmla="*/ 9 w 120"/>
                <a:gd name="T13" fmla="*/ 17 h 151"/>
                <a:gd name="T14" fmla="*/ 9 w 120"/>
                <a:gd name="T15" fmla="*/ 21 h 151"/>
                <a:gd name="T16" fmla="*/ 9 w 120"/>
                <a:gd name="T17" fmla="*/ 21 h 151"/>
                <a:gd name="T18" fmla="*/ 11 w 120"/>
                <a:gd name="T19" fmla="*/ 25 h 151"/>
                <a:gd name="T20" fmla="*/ 15 w 120"/>
                <a:gd name="T21" fmla="*/ 25 h 151"/>
                <a:gd name="T22" fmla="*/ 15 w 120"/>
                <a:gd name="T23" fmla="*/ 25 h 151"/>
                <a:gd name="T24" fmla="*/ 24 w 120"/>
                <a:gd name="T25" fmla="*/ 25 h 151"/>
                <a:gd name="T26" fmla="*/ 44 w 120"/>
                <a:gd name="T27" fmla="*/ 29 h 151"/>
                <a:gd name="T28" fmla="*/ 53 w 120"/>
                <a:gd name="T29" fmla="*/ 33 h 151"/>
                <a:gd name="T30" fmla="*/ 63 w 120"/>
                <a:gd name="T31" fmla="*/ 38 h 151"/>
                <a:gd name="T32" fmla="*/ 70 w 120"/>
                <a:gd name="T33" fmla="*/ 46 h 151"/>
                <a:gd name="T34" fmla="*/ 72 w 120"/>
                <a:gd name="T35" fmla="*/ 52 h 151"/>
                <a:gd name="T36" fmla="*/ 74 w 120"/>
                <a:gd name="T37" fmla="*/ 57 h 151"/>
                <a:gd name="T38" fmla="*/ 74 w 120"/>
                <a:gd name="T39" fmla="*/ 57 h 151"/>
                <a:gd name="T40" fmla="*/ 74 w 120"/>
                <a:gd name="T41" fmla="*/ 61 h 151"/>
                <a:gd name="T42" fmla="*/ 74 w 120"/>
                <a:gd name="T43" fmla="*/ 67 h 151"/>
                <a:gd name="T44" fmla="*/ 68 w 120"/>
                <a:gd name="T45" fmla="*/ 78 h 151"/>
                <a:gd name="T46" fmla="*/ 59 w 120"/>
                <a:gd name="T47" fmla="*/ 92 h 151"/>
                <a:gd name="T48" fmla="*/ 47 w 120"/>
                <a:gd name="T49" fmla="*/ 103 h 151"/>
                <a:gd name="T50" fmla="*/ 23 w 120"/>
                <a:gd name="T51" fmla="*/ 126 h 151"/>
                <a:gd name="T52" fmla="*/ 2 w 120"/>
                <a:gd name="T53" fmla="*/ 141 h 151"/>
                <a:gd name="T54" fmla="*/ 2 w 120"/>
                <a:gd name="T55" fmla="*/ 141 h 151"/>
                <a:gd name="T56" fmla="*/ 0 w 120"/>
                <a:gd name="T57" fmla="*/ 143 h 151"/>
                <a:gd name="T58" fmla="*/ 0 w 120"/>
                <a:gd name="T59" fmla="*/ 147 h 151"/>
                <a:gd name="T60" fmla="*/ 0 w 120"/>
                <a:gd name="T61" fmla="*/ 147 h 151"/>
                <a:gd name="T62" fmla="*/ 2 w 120"/>
                <a:gd name="T63" fmla="*/ 151 h 151"/>
                <a:gd name="T64" fmla="*/ 5 w 120"/>
                <a:gd name="T65" fmla="*/ 151 h 151"/>
                <a:gd name="T66" fmla="*/ 5 w 120"/>
                <a:gd name="T67" fmla="*/ 151 h 151"/>
                <a:gd name="T68" fmla="*/ 5 w 120"/>
                <a:gd name="T69" fmla="*/ 151 h 151"/>
                <a:gd name="T70" fmla="*/ 5 w 120"/>
                <a:gd name="T71" fmla="*/ 151 h 151"/>
                <a:gd name="T72" fmla="*/ 28 w 120"/>
                <a:gd name="T73" fmla="*/ 145 h 151"/>
                <a:gd name="T74" fmla="*/ 47 w 120"/>
                <a:gd name="T75" fmla="*/ 137 h 151"/>
                <a:gd name="T76" fmla="*/ 70 w 120"/>
                <a:gd name="T77" fmla="*/ 128 h 151"/>
                <a:gd name="T78" fmla="*/ 91 w 120"/>
                <a:gd name="T79" fmla="*/ 115 h 151"/>
                <a:gd name="T80" fmla="*/ 101 w 120"/>
                <a:gd name="T81" fmla="*/ 107 h 151"/>
                <a:gd name="T82" fmla="*/ 108 w 120"/>
                <a:gd name="T83" fmla="*/ 97 h 151"/>
                <a:gd name="T84" fmla="*/ 114 w 120"/>
                <a:gd name="T85" fmla="*/ 88 h 151"/>
                <a:gd name="T86" fmla="*/ 118 w 120"/>
                <a:gd name="T87" fmla="*/ 78 h 151"/>
                <a:gd name="T88" fmla="*/ 120 w 120"/>
                <a:gd name="T89" fmla="*/ 65 h 151"/>
                <a:gd name="T90" fmla="*/ 120 w 120"/>
                <a:gd name="T91" fmla="*/ 54 h 151"/>
                <a:gd name="T92" fmla="*/ 120 w 120"/>
                <a:gd name="T93" fmla="*/ 54 h 151"/>
                <a:gd name="T94" fmla="*/ 116 w 120"/>
                <a:gd name="T95" fmla="*/ 38 h 151"/>
                <a:gd name="T96" fmla="*/ 110 w 120"/>
                <a:gd name="T97" fmla="*/ 27 h 151"/>
                <a:gd name="T98" fmla="*/ 104 w 120"/>
                <a:gd name="T99" fmla="*/ 17 h 151"/>
                <a:gd name="T100" fmla="*/ 97 w 120"/>
                <a:gd name="T101" fmla="*/ 12 h 151"/>
                <a:gd name="T102" fmla="*/ 87 w 120"/>
                <a:gd name="T103" fmla="*/ 6 h 151"/>
                <a:gd name="T104" fmla="*/ 80 w 120"/>
                <a:gd name="T105" fmla="*/ 2 h 151"/>
                <a:gd name="T106" fmla="*/ 72 w 120"/>
                <a:gd name="T107" fmla="*/ 2 h 151"/>
                <a:gd name="T108" fmla="*/ 63 w 120"/>
                <a:gd name="T109" fmla="*/ 0 h 151"/>
                <a:gd name="T110" fmla="*/ 63 w 120"/>
                <a:gd name="T111" fmla="*/ 0 h 151"/>
                <a:gd name="T112" fmla="*/ 63 w 120"/>
                <a:gd name="T113" fmla="*/ 0 h 151"/>
                <a:gd name="T114" fmla="*/ 63 w 120"/>
                <a:gd name="T11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0" h="151">
                  <a:moveTo>
                    <a:pt x="63" y="0"/>
                  </a:moveTo>
                  <a:lnTo>
                    <a:pt x="63" y="0"/>
                  </a:lnTo>
                  <a:lnTo>
                    <a:pt x="45" y="2"/>
                  </a:lnTo>
                  <a:lnTo>
                    <a:pt x="28" y="8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9" y="17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44" y="29"/>
                  </a:lnTo>
                  <a:lnTo>
                    <a:pt x="53" y="33"/>
                  </a:lnTo>
                  <a:lnTo>
                    <a:pt x="63" y="38"/>
                  </a:lnTo>
                  <a:lnTo>
                    <a:pt x="70" y="46"/>
                  </a:lnTo>
                  <a:lnTo>
                    <a:pt x="72" y="52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61"/>
                  </a:lnTo>
                  <a:lnTo>
                    <a:pt x="74" y="67"/>
                  </a:lnTo>
                  <a:lnTo>
                    <a:pt x="68" y="78"/>
                  </a:lnTo>
                  <a:lnTo>
                    <a:pt x="59" y="92"/>
                  </a:lnTo>
                  <a:lnTo>
                    <a:pt x="47" y="103"/>
                  </a:lnTo>
                  <a:lnTo>
                    <a:pt x="23" y="126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0" y="143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28" y="145"/>
                  </a:lnTo>
                  <a:lnTo>
                    <a:pt x="47" y="137"/>
                  </a:lnTo>
                  <a:lnTo>
                    <a:pt x="70" y="128"/>
                  </a:lnTo>
                  <a:lnTo>
                    <a:pt x="91" y="115"/>
                  </a:lnTo>
                  <a:lnTo>
                    <a:pt x="101" y="107"/>
                  </a:lnTo>
                  <a:lnTo>
                    <a:pt x="108" y="97"/>
                  </a:lnTo>
                  <a:lnTo>
                    <a:pt x="114" y="88"/>
                  </a:lnTo>
                  <a:lnTo>
                    <a:pt x="118" y="78"/>
                  </a:lnTo>
                  <a:lnTo>
                    <a:pt x="120" y="65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6" y="38"/>
                  </a:lnTo>
                  <a:lnTo>
                    <a:pt x="110" y="27"/>
                  </a:lnTo>
                  <a:lnTo>
                    <a:pt x="104" y="17"/>
                  </a:lnTo>
                  <a:lnTo>
                    <a:pt x="97" y="12"/>
                  </a:lnTo>
                  <a:lnTo>
                    <a:pt x="87" y="6"/>
                  </a:lnTo>
                  <a:lnTo>
                    <a:pt x="80" y="2"/>
                  </a:lnTo>
                  <a:lnTo>
                    <a:pt x="72" y="2"/>
                  </a:lnTo>
                  <a:lnTo>
                    <a:pt x="63" y="0"/>
                  </a:lnTo>
                  <a:lnTo>
                    <a:pt x="63" y="0"/>
                  </a:lnTo>
                  <a:close/>
                  <a:moveTo>
                    <a:pt x="63" y="0"/>
                  </a:move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5" name="Freeform 224"/>
            <p:cNvSpPr>
              <a:spLocks/>
            </p:cNvSpPr>
            <p:nvPr/>
          </p:nvSpPr>
          <p:spPr bwMode="auto">
            <a:xfrm>
              <a:off x="3724275" y="5989638"/>
              <a:ext cx="190500" cy="239713"/>
            </a:xfrm>
            <a:custGeom>
              <a:avLst/>
              <a:gdLst>
                <a:gd name="T0" fmla="*/ 63 w 120"/>
                <a:gd name="T1" fmla="*/ 0 h 151"/>
                <a:gd name="T2" fmla="*/ 63 w 120"/>
                <a:gd name="T3" fmla="*/ 0 h 151"/>
                <a:gd name="T4" fmla="*/ 45 w 120"/>
                <a:gd name="T5" fmla="*/ 2 h 151"/>
                <a:gd name="T6" fmla="*/ 28 w 120"/>
                <a:gd name="T7" fmla="*/ 8 h 151"/>
                <a:gd name="T8" fmla="*/ 13 w 120"/>
                <a:gd name="T9" fmla="*/ 14 h 151"/>
                <a:gd name="T10" fmla="*/ 13 w 120"/>
                <a:gd name="T11" fmla="*/ 14 h 151"/>
                <a:gd name="T12" fmla="*/ 9 w 120"/>
                <a:gd name="T13" fmla="*/ 17 h 151"/>
                <a:gd name="T14" fmla="*/ 9 w 120"/>
                <a:gd name="T15" fmla="*/ 21 h 151"/>
                <a:gd name="T16" fmla="*/ 9 w 120"/>
                <a:gd name="T17" fmla="*/ 21 h 151"/>
                <a:gd name="T18" fmla="*/ 11 w 120"/>
                <a:gd name="T19" fmla="*/ 25 h 151"/>
                <a:gd name="T20" fmla="*/ 15 w 120"/>
                <a:gd name="T21" fmla="*/ 25 h 151"/>
                <a:gd name="T22" fmla="*/ 15 w 120"/>
                <a:gd name="T23" fmla="*/ 25 h 151"/>
                <a:gd name="T24" fmla="*/ 24 w 120"/>
                <a:gd name="T25" fmla="*/ 25 h 151"/>
                <a:gd name="T26" fmla="*/ 44 w 120"/>
                <a:gd name="T27" fmla="*/ 29 h 151"/>
                <a:gd name="T28" fmla="*/ 53 w 120"/>
                <a:gd name="T29" fmla="*/ 33 h 151"/>
                <a:gd name="T30" fmla="*/ 63 w 120"/>
                <a:gd name="T31" fmla="*/ 38 h 151"/>
                <a:gd name="T32" fmla="*/ 70 w 120"/>
                <a:gd name="T33" fmla="*/ 46 h 151"/>
                <a:gd name="T34" fmla="*/ 72 w 120"/>
                <a:gd name="T35" fmla="*/ 52 h 151"/>
                <a:gd name="T36" fmla="*/ 74 w 120"/>
                <a:gd name="T37" fmla="*/ 57 h 151"/>
                <a:gd name="T38" fmla="*/ 74 w 120"/>
                <a:gd name="T39" fmla="*/ 57 h 151"/>
                <a:gd name="T40" fmla="*/ 74 w 120"/>
                <a:gd name="T41" fmla="*/ 61 h 151"/>
                <a:gd name="T42" fmla="*/ 74 w 120"/>
                <a:gd name="T43" fmla="*/ 67 h 151"/>
                <a:gd name="T44" fmla="*/ 68 w 120"/>
                <a:gd name="T45" fmla="*/ 78 h 151"/>
                <a:gd name="T46" fmla="*/ 59 w 120"/>
                <a:gd name="T47" fmla="*/ 92 h 151"/>
                <a:gd name="T48" fmla="*/ 47 w 120"/>
                <a:gd name="T49" fmla="*/ 103 h 151"/>
                <a:gd name="T50" fmla="*/ 23 w 120"/>
                <a:gd name="T51" fmla="*/ 126 h 151"/>
                <a:gd name="T52" fmla="*/ 2 w 120"/>
                <a:gd name="T53" fmla="*/ 141 h 151"/>
                <a:gd name="T54" fmla="*/ 2 w 120"/>
                <a:gd name="T55" fmla="*/ 141 h 151"/>
                <a:gd name="T56" fmla="*/ 0 w 120"/>
                <a:gd name="T57" fmla="*/ 143 h 151"/>
                <a:gd name="T58" fmla="*/ 0 w 120"/>
                <a:gd name="T59" fmla="*/ 147 h 151"/>
                <a:gd name="T60" fmla="*/ 0 w 120"/>
                <a:gd name="T61" fmla="*/ 147 h 151"/>
                <a:gd name="T62" fmla="*/ 2 w 120"/>
                <a:gd name="T63" fmla="*/ 151 h 151"/>
                <a:gd name="T64" fmla="*/ 5 w 120"/>
                <a:gd name="T65" fmla="*/ 151 h 151"/>
                <a:gd name="T66" fmla="*/ 5 w 120"/>
                <a:gd name="T67" fmla="*/ 151 h 151"/>
                <a:gd name="T68" fmla="*/ 5 w 120"/>
                <a:gd name="T69" fmla="*/ 151 h 151"/>
                <a:gd name="T70" fmla="*/ 5 w 120"/>
                <a:gd name="T71" fmla="*/ 151 h 151"/>
                <a:gd name="T72" fmla="*/ 28 w 120"/>
                <a:gd name="T73" fmla="*/ 145 h 151"/>
                <a:gd name="T74" fmla="*/ 47 w 120"/>
                <a:gd name="T75" fmla="*/ 137 h 151"/>
                <a:gd name="T76" fmla="*/ 70 w 120"/>
                <a:gd name="T77" fmla="*/ 128 h 151"/>
                <a:gd name="T78" fmla="*/ 91 w 120"/>
                <a:gd name="T79" fmla="*/ 115 h 151"/>
                <a:gd name="T80" fmla="*/ 101 w 120"/>
                <a:gd name="T81" fmla="*/ 107 h 151"/>
                <a:gd name="T82" fmla="*/ 108 w 120"/>
                <a:gd name="T83" fmla="*/ 97 h 151"/>
                <a:gd name="T84" fmla="*/ 114 w 120"/>
                <a:gd name="T85" fmla="*/ 88 h 151"/>
                <a:gd name="T86" fmla="*/ 118 w 120"/>
                <a:gd name="T87" fmla="*/ 78 h 151"/>
                <a:gd name="T88" fmla="*/ 120 w 120"/>
                <a:gd name="T89" fmla="*/ 65 h 151"/>
                <a:gd name="T90" fmla="*/ 120 w 120"/>
                <a:gd name="T91" fmla="*/ 54 h 151"/>
                <a:gd name="T92" fmla="*/ 120 w 120"/>
                <a:gd name="T93" fmla="*/ 54 h 151"/>
                <a:gd name="T94" fmla="*/ 116 w 120"/>
                <a:gd name="T95" fmla="*/ 38 h 151"/>
                <a:gd name="T96" fmla="*/ 110 w 120"/>
                <a:gd name="T97" fmla="*/ 27 h 151"/>
                <a:gd name="T98" fmla="*/ 104 w 120"/>
                <a:gd name="T99" fmla="*/ 17 h 151"/>
                <a:gd name="T100" fmla="*/ 97 w 120"/>
                <a:gd name="T101" fmla="*/ 12 h 151"/>
                <a:gd name="T102" fmla="*/ 87 w 120"/>
                <a:gd name="T103" fmla="*/ 6 h 151"/>
                <a:gd name="T104" fmla="*/ 80 w 120"/>
                <a:gd name="T105" fmla="*/ 2 h 151"/>
                <a:gd name="T106" fmla="*/ 72 w 120"/>
                <a:gd name="T107" fmla="*/ 2 h 151"/>
                <a:gd name="T108" fmla="*/ 63 w 120"/>
                <a:gd name="T109" fmla="*/ 0 h 151"/>
                <a:gd name="T110" fmla="*/ 63 w 120"/>
                <a:gd name="T111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0" h="151">
                  <a:moveTo>
                    <a:pt x="63" y="0"/>
                  </a:moveTo>
                  <a:lnTo>
                    <a:pt x="63" y="0"/>
                  </a:lnTo>
                  <a:lnTo>
                    <a:pt x="45" y="2"/>
                  </a:lnTo>
                  <a:lnTo>
                    <a:pt x="28" y="8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9" y="17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44" y="29"/>
                  </a:lnTo>
                  <a:lnTo>
                    <a:pt x="53" y="33"/>
                  </a:lnTo>
                  <a:lnTo>
                    <a:pt x="63" y="38"/>
                  </a:lnTo>
                  <a:lnTo>
                    <a:pt x="70" y="46"/>
                  </a:lnTo>
                  <a:lnTo>
                    <a:pt x="72" y="52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61"/>
                  </a:lnTo>
                  <a:lnTo>
                    <a:pt x="74" y="67"/>
                  </a:lnTo>
                  <a:lnTo>
                    <a:pt x="68" y="78"/>
                  </a:lnTo>
                  <a:lnTo>
                    <a:pt x="59" y="92"/>
                  </a:lnTo>
                  <a:lnTo>
                    <a:pt x="47" y="103"/>
                  </a:lnTo>
                  <a:lnTo>
                    <a:pt x="23" y="126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0" y="143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28" y="145"/>
                  </a:lnTo>
                  <a:lnTo>
                    <a:pt x="47" y="137"/>
                  </a:lnTo>
                  <a:lnTo>
                    <a:pt x="70" y="128"/>
                  </a:lnTo>
                  <a:lnTo>
                    <a:pt x="91" y="115"/>
                  </a:lnTo>
                  <a:lnTo>
                    <a:pt x="101" y="107"/>
                  </a:lnTo>
                  <a:lnTo>
                    <a:pt x="108" y="97"/>
                  </a:lnTo>
                  <a:lnTo>
                    <a:pt x="114" y="88"/>
                  </a:lnTo>
                  <a:lnTo>
                    <a:pt x="118" y="78"/>
                  </a:lnTo>
                  <a:lnTo>
                    <a:pt x="120" y="65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6" y="38"/>
                  </a:lnTo>
                  <a:lnTo>
                    <a:pt x="110" y="27"/>
                  </a:lnTo>
                  <a:lnTo>
                    <a:pt x="104" y="17"/>
                  </a:lnTo>
                  <a:lnTo>
                    <a:pt x="97" y="12"/>
                  </a:lnTo>
                  <a:lnTo>
                    <a:pt x="87" y="6"/>
                  </a:lnTo>
                  <a:lnTo>
                    <a:pt x="80" y="2"/>
                  </a:lnTo>
                  <a:lnTo>
                    <a:pt x="72" y="2"/>
                  </a:lnTo>
                  <a:lnTo>
                    <a:pt x="63" y="0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6" name="Line 225"/>
            <p:cNvSpPr>
              <a:spLocks noChangeShapeType="1"/>
            </p:cNvSpPr>
            <p:nvPr/>
          </p:nvSpPr>
          <p:spPr bwMode="auto">
            <a:xfrm>
              <a:off x="3824288" y="5989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7" name="Freeform 226"/>
            <p:cNvSpPr>
              <a:spLocks noEditPoints="1"/>
            </p:cNvSpPr>
            <p:nvPr/>
          </p:nvSpPr>
          <p:spPr bwMode="auto">
            <a:xfrm>
              <a:off x="3243263" y="6138863"/>
              <a:ext cx="450850" cy="101600"/>
            </a:xfrm>
            <a:custGeom>
              <a:avLst/>
              <a:gdLst>
                <a:gd name="T0" fmla="*/ 284 w 284"/>
                <a:gd name="T1" fmla="*/ 38 h 64"/>
                <a:gd name="T2" fmla="*/ 284 w 284"/>
                <a:gd name="T3" fmla="*/ 38 h 64"/>
                <a:gd name="T4" fmla="*/ 284 w 284"/>
                <a:gd name="T5" fmla="*/ 34 h 64"/>
                <a:gd name="T6" fmla="*/ 282 w 284"/>
                <a:gd name="T7" fmla="*/ 32 h 64"/>
                <a:gd name="T8" fmla="*/ 251 w 284"/>
                <a:gd name="T9" fmla="*/ 11 h 64"/>
                <a:gd name="T10" fmla="*/ 251 w 284"/>
                <a:gd name="T11" fmla="*/ 11 h 64"/>
                <a:gd name="T12" fmla="*/ 247 w 284"/>
                <a:gd name="T13" fmla="*/ 11 h 64"/>
                <a:gd name="T14" fmla="*/ 247 w 284"/>
                <a:gd name="T15" fmla="*/ 11 h 64"/>
                <a:gd name="T16" fmla="*/ 227 w 284"/>
                <a:gd name="T17" fmla="*/ 15 h 64"/>
                <a:gd name="T18" fmla="*/ 204 w 284"/>
                <a:gd name="T19" fmla="*/ 21 h 64"/>
                <a:gd name="T20" fmla="*/ 173 w 284"/>
                <a:gd name="T21" fmla="*/ 24 h 64"/>
                <a:gd name="T22" fmla="*/ 173 w 284"/>
                <a:gd name="T23" fmla="*/ 24 h 64"/>
                <a:gd name="T24" fmla="*/ 145 w 284"/>
                <a:gd name="T25" fmla="*/ 26 h 64"/>
                <a:gd name="T26" fmla="*/ 116 w 284"/>
                <a:gd name="T27" fmla="*/ 26 h 64"/>
                <a:gd name="T28" fmla="*/ 116 w 284"/>
                <a:gd name="T29" fmla="*/ 26 h 64"/>
                <a:gd name="T30" fmla="*/ 86 w 284"/>
                <a:gd name="T31" fmla="*/ 26 h 64"/>
                <a:gd name="T32" fmla="*/ 63 w 284"/>
                <a:gd name="T33" fmla="*/ 24 h 64"/>
                <a:gd name="T34" fmla="*/ 48 w 284"/>
                <a:gd name="T35" fmla="*/ 21 h 64"/>
                <a:gd name="T36" fmla="*/ 40 w 284"/>
                <a:gd name="T37" fmla="*/ 19 h 64"/>
                <a:gd name="T38" fmla="*/ 40 w 284"/>
                <a:gd name="T39" fmla="*/ 19 h 64"/>
                <a:gd name="T40" fmla="*/ 40 w 284"/>
                <a:gd name="T41" fmla="*/ 17 h 64"/>
                <a:gd name="T42" fmla="*/ 40 w 284"/>
                <a:gd name="T43" fmla="*/ 17 h 64"/>
                <a:gd name="T44" fmla="*/ 42 w 284"/>
                <a:gd name="T45" fmla="*/ 13 h 64"/>
                <a:gd name="T46" fmla="*/ 46 w 284"/>
                <a:gd name="T47" fmla="*/ 11 h 64"/>
                <a:gd name="T48" fmla="*/ 46 w 284"/>
                <a:gd name="T49" fmla="*/ 11 h 64"/>
                <a:gd name="T50" fmla="*/ 49 w 284"/>
                <a:gd name="T51" fmla="*/ 7 h 64"/>
                <a:gd name="T52" fmla="*/ 49 w 284"/>
                <a:gd name="T53" fmla="*/ 3 h 64"/>
                <a:gd name="T54" fmla="*/ 49 w 284"/>
                <a:gd name="T55" fmla="*/ 3 h 64"/>
                <a:gd name="T56" fmla="*/ 48 w 284"/>
                <a:gd name="T57" fmla="*/ 0 h 64"/>
                <a:gd name="T58" fmla="*/ 44 w 284"/>
                <a:gd name="T59" fmla="*/ 0 h 64"/>
                <a:gd name="T60" fmla="*/ 44 w 284"/>
                <a:gd name="T61" fmla="*/ 0 h 64"/>
                <a:gd name="T62" fmla="*/ 25 w 284"/>
                <a:gd name="T63" fmla="*/ 5 h 64"/>
                <a:gd name="T64" fmla="*/ 11 w 284"/>
                <a:gd name="T65" fmla="*/ 11 h 64"/>
                <a:gd name="T66" fmla="*/ 6 w 284"/>
                <a:gd name="T67" fmla="*/ 15 h 64"/>
                <a:gd name="T68" fmla="*/ 4 w 284"/>
                <a:gd name="T69" fmla="*/ 21 h 64"/>
                <a:gd name="T70" fmla="*/ 2 w 284"/>
                <a:gd name="T71" fmla="*/ 24 h 64"/>
                <a:gd name="T72" fmla="*/ 0 w 284"/>
                <a:gd name="T73" fmla="*/ 28 h 64"/>
                <a:gd name="T74" fmla="*/ 0 w 284"/>
                <a:gd name="T75" fmla="*/ 28 h 64"/>
                <a:gd name="T76" fmla="*/ 4 w 284"/>
                <a:gd name="T77" fmla="*/ 36 h 64"/>
                <a:gd name="T78" fmla="*/ 11 w 284"/>
                <a:gd name="T79" fmla="*/ 43 h 64"/>
                <a:gd name="T80" fmla="*/ 21 w 284"/>
                <a:gd name="T81" fmla="*/ 49 h 64"/>
                <a:gd name="T82" fmla="*/ 32 w 284"/>
                <a:gd name="T83" fmla="*/ 53 h 64"/>
                <a:gd name="T84" fmla="*/ 48 w 284"/>
                <a:gd name="T85" fmla="*/ 57 h 64"/>
                <a:gd name="T86" fmla="*/ 63 w 284"/>
                <a:gd name="T87" fmla="*/ 61 h 64"/>
                <a:gd name="T88" fmla="*/ 95 w 284"/>
                <a:gd name="T89" fmla="*/ 64 h 64"/>
                <a:gd name="T90" fmla="*/ 95 w 284"/>
                <a:gd name="T91" fmla="*/ 64 h 64"/>
                <a:gd name="T92" fmla="*/ 116 w 284"/>
                <a:gd name="T93" fmla="*/ 64 h 64"/>
                <a:gd name="T94" fmla="*/ 116 w 284"/>
                <a:gd name="T95" fmla="*/ 64 h 64"/>
                <a:gd name="T96" fmla="*/ 116 w 284"/>
                <a:gd name="T97" fmla="*/ 64 h 64"/>
                <a:gd name="T98" fmla="*/ 143 w 284"/>
                <a:gd name="T99" fmla="*/ 64 h 64"/>
                <a:gd name="T100" fmla="*/ 171 w 284"/>
                <a:gd name="T101" fmla="*/ 63 h 64"/>
                <a:gd name="T102" fmla="*/ 225 w 284"/>
                <a:gd name="T103" fmla="*/ 55 h 64"/>
                <a:gd name="T104" fmla="*/ 263 w 284"/>
                <a:gd name="T105" fmla="*/ 45 h 64"/>
                <a:gd name="T106" fmla="*/ 280 w 284"/>
                <a:gd name="T107" fmla="*/ 43 h 64"/>
                <a:gd name="T108" fmla="*/ 280 w 284"/>
                <a:gd name="T109" fmla="*/ 43 h 64"/>
                <a:gd name="T110" fmla="*/ 282 w 284"/>
                <a:gd name="T111" fmla="*/ 42 h 64"/>
                <a:gd name="T112" fmla="*/ 284 w 284"/>
                <a:gd name="T113" fmla="*/ 38 h 64"/>
                <a:gd name="T114" fmla="*/ 284 w 284"/>
                <a:gd name="T115" fmla="*/ 38 h 64"/>
                <a:gd name="T116" fmla="*/ 284 w 284"/>
                <a:gd name="T117" fmla="*/ 38 h 64"/>
                <a:gd name="T118" fmla="*/ 284 w 284"/>
                <a:gd name="T119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4" h="64">
                  <a:moveTo>
                    <a:pt x="284" y="38"/>
                  </a:moveTo>
                  <a:lnTo>
                    <a:pt x="284" y="38"/>
                  </a:lnTo>
                  <a:lnTo>
                    <a:pt x="284" y="34"/>
                  </a:lnTo>
                  <a:lnTo>
                    <a:pt x="282" y="32"/>
                  </a:lnTo>
                  <a:lnTo>
                    <a:pt x="251" y="11"/>
                  </a:lnTo>
                  <a:lnTo>
                    <a:pt x="251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27" y="15"/>
                  </a:lnTo>
                  <a:lnTo>
                    <a:pt x="204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45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86" y="26"/>
                  </a:lnTo>
                  <a:lnTo>
                    <a:pt x="63" y="24"/>
                  </a:lnTo>
                  <a:lnTo>
                    <a:pt x="48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2" y="13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9" y="7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25" y="5"/>
                  </a:lnTo>
                  <a:lnTo>
                    <a:pt x="11" y="11"/>
                  </a:lnTo>
                  <a:lnTo>
                    <a:pt x="6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1" y="43"/>
                  </a:lnTo>
                  <a:lnTo>
                    <a:pt x="21" y="49"/>
                  </a:lnTo>
                  <a:lnTo>
                    <a:pt x="32" y="53"/>
                  </a:lnTo>
                  <a:lnTo>
                    <a:pt x="48" y="57"/>
                  </a:lnTo>
                  <a:lnTo>
                    <a:pt x="63" y="61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43" y="64"/>
                  </a:lnTo>
                  <a:lnTo>
                    <a:pt x="171" y="63"/>
                  </a:lnTo>
                  <a:lnTo>
                    <a:pt x="225" y="55"/>
                  </a:lnTo>
                  <a:lnTo>
                    <a:pt x="263" y="45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2" y="42"/>
                  </a:lnTo>
                  <a:lnTo>
                    <a:pt x="284" y="38"/>
                  </a:lnTo>
                  <a:lnTo>
                    <a:pt x="284" y="38"/>
                  </a:lnTo>
                  <a:close/>
                  <a:moveTo>
                    <a:pt x="284" y="38"/>
                  </a:moveTo>
                  <a:lnTo>
                    <a:pt x="284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8" name="Freeform 227"/>
            <p:cNvSpPr>
              <a:spLocks/>
            </p:cNvSpPr>
            <p:nvPr/>
          </p:nvSpPr>
          <p:spPr bwMode="auto">
            <a:xfrm>
              <a:off x="3243263" y="6138863"/>
              <a:ext cx="450850" cy="101600"/>
            </a:xfrm>
            <a:custGeom>
              <a:avLst/>
              <a:gdLst>
                <a:gd name="T0" fmla="*/ 284 w 284"/>
                <a:gd name="T1" fmla="*/ 38 h 64"/>
                <a:gd name="T2" fmla="*/ 284 w 284"/>
                <a:gd name="T3" fmla="*/ 38 h 64"/>
                <a:gd name="T4" fmla="*/ 284 w 284"/>
                <a:gd name="T5" fmla="*/ 34 h 64"/>
                <a:gd name="T6" fmla="*/ 282 w 284"/>
                <a:gd name="T7" fmla="*/ 32 h 64"/>
                <a:gd name="T8" fmla="*/ 251 w 284"/>
                <a:gd name="T9" fmla="*/ 11 h 64"/>
                <a:gd name="T10" fmla="*/ 251 w 284"/>
                <a:gd name="T11" fmla="*/ 11 h 64"/>
                <a:gd name="T12" fmla="*/ 247 w 284"/>
                <a:gd name="T13" fmla="*/ 11 h 64"/>
                <a:gd name="T14" fmla="*/ 247 w 284"/>
                <a:gd name="T15" fmla="*/ 11 h 64"/>
                <a:gd name="T16" fmla="*/ 227 w 284"/>
                <a:gd name="T17" fmla="*/ 15 h 64"/>
                <a:gd name="T18" fmla="*/ 204 w 284"/>
                <a:gd name="T19" fmla="*/ 21 h 64"/>
                <a:gd name="T20" fmla="*/ 173 w 284"/>
                <a:gd name="T21" fmla="*/ 24 h 64"/>
                <a:gd name="T22" fmla="*/ 173 w 284"/>
                <a:gd name="T23" fmla="*/ 24 h 64"/>
                <a:gd name="T24" fmla="*/ 145 w 284"/>
                <a:gd name="T25" fmla="*/ 26 h 64"/>
                <a:gd name="T26" fmla="*/ 116 w 284"/>
                <a:gd name="T27" fmla="*/ 26 h 64"/>
                <a:gd name="T28" fmla="*/ 116 w 284"/>
                <a:gd name="T29" fmla="*/ 26 h 64"/>
                <a:gd name="T30" fmla="*/ 86 w 284"/>
                <a:gd name="T31" fmla="*/ 26 h 64"/>
                <a:gd name="T32" fmla="*/ 63 w 284"/>
                <a:gd name="T33" fmla="*/ 24 h 64"/>
                <a:gd name="T34" fmla="*/ 48 w 284"/>
                <a:gd name="T35" fmla="*/ 21 h 64"/>
                <a:gd name="T36" fmla="*/ 40 w 284"/>
                <a:gd name="T37" fmla="*/ 19 h 64"/>
                <a:gd name="T38" fmla="*/ 40 w 284"/>
                <a:gd name="T39" fmla="*/ 19 h 64"/>
                <a:gd name="T40" fmla="*/ 40 w 284"/>
                <a:gd name="T41" fmla="*/ 17 h 64"/>
                <a:gd name="T42" fmla="*/ 40 w 284"/>
                <a:gd name="T43" fmla="*/ 17 h 64"/>
                <a:gd name="T44" fmla="*/ 42 w 284"/>
                <a:gd name="T45" fmla="*/ 13 h 64"/>
                <a:gd name="T46" fmla="*/ 46 w 284"/>
                <a:gd name="T47" fmla="*/ 11 h 64"/>
                <a:gd name="T48" fmla="*/ 46 w 284"/>
                <a:gd name="T49" fmla="*/ 11 h 64"/>
                <a:gd name="T50" fmla="*/ 49 w 284"/>
                <a:gd name="T51" fmla="*/ 7 h 64"/>
                <a:gd name="T52" fmla="*/ 49 w 284"/>
                <a:gd name="T53" fmla="*/ 3 h 64"/>
                <a:gd name="T54" fmla="*/ 49 w 284"/>
                <a:gd name="T55" fmla="*/ 3 h 64"/>
                <a:gd name="T56" fmla="*/ 48 w 284"/>
                <a:gd name="T57" fmla="*/ 0 h 64"/>
                <a:gd name="T58" fmla="*/ 44 w 284"/>
                <a:gd name="T59" fmla="*/ 0 h 64"/>
                <a:gd name="T60" fmla="*/ 44 w 284"/>
                <a:gd name="T61" fmla="*/ 0 h 64"/>
                <a:gd name="T62" fmla="*/ 25 w 284"/>
                <a:gd name="T63" fmla="*/ 5 h 64"/>
                <a:gd name="T64" fmla="*/ 11 w 284"/>
                <a:gd name="T65" fmla="*/ 11 h 64"/>
                <a:gd name="T66" fmla="*/ 6 w 284"/>
                <a:gd name="T67" fmla="*/ 15 h 64"/>
                <a:gd name="T68" fmla="*/ 4 w 284"/>
                <a:gd name="T69" fmla="*/ 21 h 64"/>
                <a:gd name="T70" fmla="*/ 2 w 284"/>
                <a:gd name="T71" fmla="*/ 24 h 64"/>
                <a:gd name="T72" fmla="*/ 0 w 284"/>
                <a:gd name="T73" fmla="*/ 28 h 64"/>
                <a:gd name="T74" fmla="*/ 0 w 284"/>
                <a:gd name="T75" fmla="*/ 28 h 64"/>
                <a:gd name="T76" fmla="*/ 4 w 284"/>
                <a:gd name="T77" fmla="*/ 36 h 64"/>
                <a:gd name="T78" fmla="*/ 11 w 284"/>
                <a:gd name="T79" fmla="*/ 43 h 64"/>
                <a:gd name="T80" fmla="*/ 21 w 284"/>
                <a:gd name="T81" fmla="*/ 49 h 64"/>
                <a:gd name="T82" fmla="*/ 32 w 284"/>
                <a:gd name="T83" fmla="*/ 53 h 64"/>
                <a:gd name="T84" fmla="*/ 48 w 284"/>
                <a:gd name="T85" fmla="*/ 57 h 64"/>
                <a:gd name="T86" fmla="*/ 63 w 284"/>
                <a:gd name="T87" fmla="*/ 61 h 64"/>
                <a:gd name="T88" fmla="*/ 95 w 284"/>
                <a:gd name="T89" fmla="*/ 64 h 64"/>
                <a:gd name="T90" fmla="*/ 95 w 284"/>
                <a:gd name="T91" fmla="*/ 64 h 64"/>
                <a:gd name="T92" fmla="*/ 116 w 284"/>
                <a:gd name="T93" fmla="*/ 64 h 64"/>
                <a:gd name="T94" fmla="*/ 116 w 284"/>
                <a:gd name="T95" fmla="*/ 64 h 64"/>
                <a:gd name="T96" fmla="*/ 116 w 284"/>
                <a:gd name="T97" fmla="*/ 64 h 64"/>
                <a:gd name="T98" fmla="*/ 143 w 284"/>
                <a:gd name="T99" fmla="*/ 64 h 64"/>
                <a:gd name="T100" fmla="*/ 171 w 284"/>
                <a:gd name="T101" fmla="*/ 63 h 64"/>
                <a:gd name="T102" fmla="*/ 225 w 284"/>
                <a:gd name="T103" fmla="*/ 55 h 64"/>
                <a:gd name="T104" fmla="*/ 263 w 284"/>
                <a:gd name="T105" fmla="*/ 45 h 64"/>
                <a:gd name="T106" fmla="*/ 280 w 284"/>
                <a:gd name="T107" fmla="*/ 43 h 64"/>
                <a:gd name="T108" fmla="*/ 280 w 284"/>
                <a:gd name="T109" fmla="*/ 43 h 64"/>
                <a:gd name="T110" fmla="*/ 282 w 284"/>
                <a:gd name="T111" fmla="*/ 42 h 64"/>
                <a:gd name="T112" fmla="*/ 284 w 284"/>
                <a:gd name="T113" fmla="*/ 38 h 64"/>
                <a:gd name="T114" fmla="*/ 284 w 284"/>
                <a:gd name="T115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4" h="64">
                  <a:moveTo>
                    <a:pt x="284" y="38"/>
                  </a:moveTo>
                  <a:lnTo>
                    <a:pt x="284" y="38"/>
                  </a:lnTo>
                  <a:lnTo>
                    <a:pt x="284" y="34"/>
                  </a:lnTo>
                  <a:lnTo>
                    <a:pt x="282" y="32"/>
                  </a:lnTo>
                  <a:lnTo>
                    <a:pt x="251" y="11"/>
                  </a:lnTo>
                  <a:lnTo>
                    <a:pt x="251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27" y="15"/>
                  </a:lnTo>
                  <a:lnTo>
                    <a:pt x="204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45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86" y="26"/>
                  </a:lnTo>
                  <a:lnTo>
                    <a:pt x="63" y="24"/>
                  </a:lnTo>
                  <a:lnTo>
                    <a:pt x="48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2" y="13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9" y="7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25" y="5"/>
                  </a:lnTo>
                  <a:lnTo>
                    <a:pt x="11" y="11"/>
                  </a:lnTo>
                  <a:lnTo>
                    <a:pt x="6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1" y="43"/>
                  </a:lnTo>
                  <a:lnTo>
                    <a:pt x="21" y="49"/>
                  </a:lnTo>
                  <a:lnTo>
                    <a:pt x="32" y="53"/>
                  </a:lnTo>
                  <a:lnTo>
                    <a:pt x="48" y="57"/>
                  </a:lnTo>
                  <a:lnTo>
                    <a:pt x="63" y="61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43" y="64"/>
                  </a:lnTo>
                  <a:lnTo>
                    <a:pt x="171" y="63"/>
                  </a:lnTo>
                  <a:lnTo>
                    <a:pt x="225" y="55"/>
                  </a:lnTo>
                  <a:lnTo>
                    <a:pt x="263" y="45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2" y="42"/>
                  </a:lnTo>
                  <a:lnTo>
                    <a:pt x="284" y="38"/>
                  </a:lnTo>
                  <a:lnTo>
                    <a:pt x="284" y="3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9" name="Line 228"/>
            <p:cNvSpPr>
              <a:spLocks noChangeShapeType="1"/>
            </p:cNvSpPr>
            <p:nvPr/>
          </p:nvSpPr>
          <p:spPr bwMode="auto">
            <a:xfrm>
              <a:off x="3694113" y="619918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0" name="Freeform 229"/>
            <p:cNvSpPr>
              <a:spLocks noEditPoints="1"/>
            </p:cNvSpPr>
            <p:nvPr/>
          </p:nvSpPr>
          <p:spPr bwMode="auto">
            <a:xfrm>
              <a:off x="3276600" y="6256338"/>
              <a:ext cx="398463" cy="109538"/>
            </a:xfrm>
            <a:custGeom>
              <a:avLst/>
              <a:gdLst>
                <a:gd name="T0" fmla="*/ 44 w 251"/>
                <a:gd name="T1" fmla="*/ 11 h 69"/>
                <a:gd name="T2" fmla="*/ 44 w 251"/>
                <a:gd name="T3" fmla="*/ 11 h 69"/>
                <a:gd name="T4" fmla="*/ 46 w 251"/>
                <a:gd name="T5" fmla="*/ 8 h 69"/>
                <a:gd name="T6" fmla="*/ 46 w 251"/>
                <a:gd name="T7" fmla="*/ 4 h 69"/>
                <a:gd name="T8" fmla="*/ 46 w 251"/>
                <a:gd name="T9" fmla="*/ 4 h 69"/>
                <a:gd name="T10" fmla="*/ 44 w 251"/>
                <a:gd name="T11" fmla="*/ 2 h 69"/>
                <a:gd name="T12" fmla="*/ 40 w 251"/>
                <a:gd name="T13" fmla="*/ 0 h 69"/>
                <a:gd name="T14" fmla="*/ 40 w 251"/>
                <a:gd name="T15" fmla="*/ 0 h 69"/>
                <a:gd name="T16" fmla="*/ 32 w 251"/>
                <a:gd name="T17" fmla="*/ 0 h 69"/>
                <a:gd name="T18" fmla="*/ 21 w 251"/>
                <a:gd name="T19" fmla="*/ 4 h 69"/>
                <a:gd name="T20" fmla="*/ 13 w 251"/>
                <a:gd name="T21" fmla="*/ 8 h 69"/>
                <a:gd name="T22" fmla="*/ 7 w 251"/>
                <a:gd name="T23" fmla="*/ 11 h 69"/>
                <a:gd name="T24" fmla="*/ 2 w 251"/>
                <a:gd name="T25" fmla="*/ 17 h 69"/>
                <a:gd name="T26" fmla="*/ 0 w 251"/>
                <a:gd name="T27" fmla="*/ 23 h 69"/>
                <a:gd name="T28" fmla="*/ 0 w 251"/>
                <a:gd name="T29" fmla="*/ 23 h 69"/>
                <a:gd name="T30" fmla="*/ 2 w 251"/>
                <a:gd name="T31" fmla="*/ 32 h 69"/>
                <a:gd name="T32" fmla="*/ 6 w 251"/>
                <a:gd name="T33" fmla="*/ 42 h 69"/>
                <a:gd name="T34" fmla="*/ 6 w 251"/>
                <a:gd name="T35" fmla="*/ 42 h 69"/>
                <a:gd name="T36" fmla="*/ 11 w 251"/>
                <a:gd name="T37" fmla="*/ 46 h 69"/>
                <a:gd name="T38" fmla="*/ 19 w 251"/>
                <a:gd name="T39" fmla="*/ 51 h 69"/>
                <a:gd name="T40" fmla="*/ 28 w 251"/>
                <a:gd name="T41" fmla="*/ 55 h 69"/>
                <a:gd name="T42" fmla="*/ 40 w 251"/>
                <a:gd name="T43" fmla="*/ 59 h 69"/>
                <a:gd name="T44" fmla="*/ 70 w 251"/>
                <a:gd name="T45" fmla="*/ 65 h 69"/>
                <a:gd name="T46" fmla="*/ 107 w 251"/>
                <a:gd name="T47" fmla="*/ 69 h 69"/>
                <a:gd name="T48" fmla="*/ 107 w 251"/>
                <a:gd name="T49" fmla="*/ 69 h 69"/>
                <a:gd name="T50" fmla="*/ 127 w 251"/>
                <a:gd name="T51" fmla="*/ 69 h 69"/>
                <a:gd name="T52" fmla="*/ 127 w 251"/>
                <a:gd name="T53" fmla="*/ 69 h 69"/>
                <a:gd name="T54" fmla="*/ 152 w 251"/>
                <a:gd name="T55" fmla="*/ 67 h 69"/>
                <a:gd name="T56" fmla="*/ 175 w 251"/>
                <a:gd name="T57" fmla="*/ 65 h 69"/>
                <a:gd name="T58" fmla="*/ 196 w 251"/>
                <a:gd name="T59" fmla="*/ 61 h 69"/>
                <a:gd name="T60" fmla="*/ 213 w 251"/>
                <a:gd name="T61" fmla="*/ 57 h 69"/>
                <a:gd name="T62" fmla="*/ 238 w 251"/>
                <a:gd name="T63" fmla="*/ 49 h 69"/>
                <a:gd name="T64" fmla="*/ 247 w 251"/>
                <a:gd name="T65" fmla="*/ 46 h 69"/>
                <a:gd name="T66" fmla="*/ 247 w 251"/>
                <a:gd name="T67" fmla="*/ 46 h 69"/>
                <a:gd name="T68" fmla="*/ 249 w 251"/>
                <a:gd name="T69" fmla="*/ 44 h 69"/>
                <a:gd name="T70" fmla="*/ 251 w 251"/>
                <a:gd name="T71" fmla="*/ 40 h 69"/>
                <a:gd name="T72" fmla="*/ 251 w 251"/>
                <a:gd name="T73" fmla="*/ 40 h 69"/>
                <a:gd name="T74" fmla="*/ 251 w 251"/>
                <a:gd name="T75" fmla="*/ 36 h 69"/>
                <a:gd name="T76" fmla="*/ 249 w 251"/>
                <a:gd name="T77" fmla="*/ 34 h 69"/>
                <a:gd name="T78" fmla="*/ 211 w 251"/>
                <a:gd name="T79" fmla="*/ 13 h 69"/>
                <a:gd name="T80" fmla="*/ 211 w 251"/>
                <a:gd name="T81" fmla="*/ 13 h 69"/>
                <a:gd name="T82" fmla="*/ 207 w 251"/>
                <a:gd name="T83" fmla="*/ 11 h 69"/>
                <a:gd name="T84" fmla="*/ 207 w 251"/>
                <a:gd name="T85" fmla="*/ 11 h 69"/>
                <a:gd name="T86" fmla="*/ 192 w 251"/>
                <a:gd name="T87" fmla="*/ 15 h 69"/>
                <a:gd name="T88" fmla="*/ 148 w 251"/>
                <a:gd name="T89" fmla="*/ 21 h 69"/>
                <a:gd name="T90" fmla="*/ 148 w 251"/>
                <a:gd name="T91" fmla="*/ 21 h 69"/>
                <a:gd name="T92" fmla="*/ 124 w 251"/>
                <a:gd name="T93" fmla="*/ 23 h 69"/>
                <a:gd name="T94" fmla="*/ 124 w 251"/>
                <a:gd name="T95" fmla="*/ 23 h 69"/>
                <a:gd name="T96" fmla="*/ 99 w 251"/>
                <a:gd name="T97" fmla="*/ 21 h 69"/>
                <a:gd name="T98" fmla="*/ 74 w 251"/>
                <a:gd name="T99" fmla="*/ 19 h 69"/>
                <a:gd name="T100" fmla="*/ 53 w 251"/>
                <a:gd name="T101" fmla="*/ 17 h 69"/>
                <a:gd name="T102" fmla="*/ 44 w 251"/>
                <a:gd name="T103" fmla="*/ 13 h 69"/>
                <a:gd name="T104" fmla="*/ 44 w 251"/>
                <a:gd name="T105" fmla="*/ 13 h 69"/>
                <a:gd name="T106" fmla="*/ 44 w 251"/>
                <a:gd name="T107" fmla="*/ 11 h 69"/>
                <a:gd name="T108" fmla="*/ 44 w 251"/>
                <a:gd name="T109" fmla="*/ 11 h 69"/>
                <a:gd name="T110" fmla="*/ 44 w 251"/>
                <a:gd name="T111" fmla="*/ 11 h 69"/>
                <a:gd name="T112" fmla="*/ 44 w 251"/>
                <a:gd name="T113" fmla="*/ 1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1" h="69">
                  <a:moveTo>
                    <a:pt x="44" y="11"/>
                  </a:moveTo>
                  <a:lnTo>
                    <a:pt x="44" y="11"/>
                  </a:lnTo>
                  <a:lnTo>
                    <a:pt x="46" y="8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1" y="4"/>
                  </a:lnTo>
                  <a:lnTo>
                    <a:pt x="13" y="8"/>
                  </a:lnTo>
                  <a:lnTo>
                    <a:pt x="7" y="11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3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1" y="46"/>
                  </a:lnTo>
                  <a:lnTo>
                    <a:pt x="19" y="51"/>
                  </a:lnTo>
                  <a:lnTo>
                    <a:pt x="28" y="55"/>
                  </a:lnTo>
                  <a:lnTo>
                    <a:pt x="40" y="59"/>
                  </a:lnTo>
                  <a:lnTo>
                    <a:pt x="70" y="65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27" y="69"/>
                  </a:lnTo>
                  <a:lnTo>
                    <a:pt x="127" y="69"/>
                  </a:lnTo>
                  <a:lnTo>
                    <a:pt x="152" y="67"/>
                  </a:lnTo>
                  <a:lnTo>
                    <a:pt x="175" y="65"/>
                  </a:lnTo>
                  <a:lnTo>
                    <a:pt x="196" y="61"/>
                  </a:lnTo>
                  <a:lnTo>
                    <a:pt x="213" y="57"/>
                  </a:lnTo>
                  <a:lnTo>
                    <a:pt x="238" y="49"/>
                  </a:lnTo>
                  <a:lnTo>
                    <a:pt x="247" y="46"/>
                  </a:lnTo>
                  <a:lnTo>
                    <a:pt x="247" y="46"/>
                  </a:lnTo>
                  <a:lnTo>
                    <a:pt x="249" y="44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1" y="36"/>
                  </a:lnTo>
                  <a:lnTo>
                    <a:pt x="249" y="34"/>
                  </a:lnTo>
                  <a:lnTo>
                    <a:pt x="211" y="13"/>
                  </a:lnTo>
                  <a:lnTo>
                    <a:pt x="211" y="13"/>
                  </a:lnTo>
                  <a:lnTo>
                    <a:pt x="207" y="11"/>
                  </a:lnTo>
                  <a:lnTo>
                    <a:pt x="207" y="11"/>
                  </a:lnTo>
                  <a:lnTo>
                    <a:pt x="192" y="15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99" y="21"/>
                  </a:lnTo>
                  <a:lnTo>
                    <a:pt x="74" y="19"/>
                  </a:lnTo>
                  <a:lnTo>
                    <a:pt x="53" y="17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4" y="11"/>
                  </a:lnTo>
                  <a:close/>
                  <a:moveTo>
                    <a:pt x="44" y="11"/>
                  </a:moveTo>
                  <a:lnTo>
                    <a:pt x="4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1" name="Freeform 230"/>
            <p:cNvSpPr>
              <a:spLocks/>
            </p:cNvSpPr>
            <p:nvPr/>
          </p:nvSpPr>
          <p:spPr bwMode="auto">
            <a:xfrm>
              <a:off x="3276600" y="6256338"/>
              <a:ext cx="398463" cy="109538"/>
            </a:xfrm>
            <a:custGeom>
              <a:avLst/>
              <a:gdLst>
                <a:gd name="T0" fmla="*/ 44 w 251"/>
                <a:gd name="T1" fmla="*/ 11 h 69"/>
                <a:gd name="T2" fmla="*/ 44 w 251"/>
                <a:gd name="T3" fmla="*/ 11 h 69"/>
                <a:gd name="T4" fmla="*/ 46 w 251"/>
                <a:gd name="T5" fmla="*/ 8 h 69"/>
                <a:gd name="T6" fmla="*/ 46 w 251"/>
                <a:gd name="T7" fmla="*/ 4 h 69"/>
                <a:gd name="T8" fmla="*/ 46 w 251"/>
                <a:gd name="T9" fmla="*/ 4 h 69"/>
                <a:gd name="T10" fmla="*/ 44 w 251"/>
                <a:gd name="T11" fmla="*/ 2 h 69"/>
                <a:gd name="T12" fmla="*/ 40 w 251"/>
                <a:gd name="T13" fmla="*/ 0 h 69"/>
                <a:gd name="T14" fmla="*/ 40 w 251"/>
                <a:gd name="T15" fmla="*/ 0 h 69"/>
                <a:gd name="T16" fmla="*/ 32 w 251"/>
                <a:gd name="T17" fmla="*/ 0 h 69"/>
                <a:gd name="T18" fmla="*/ 21 w 251"/>
                <a:gd name="T19" fmla="*/ 4 h 69"/>
                <a:gd name="T20" fmla="*/ 13 w 251"/>
                <a:gd name="T21" fmla="*/ 8 h 69"/>
                <a:gd name="T22" fmla="*/ 7 w 251"/>
                <a:gd name="T23" fmla="*/ 11 h 69"/>
                <a:gd name="T24" fmla="*/ 2 w 251"/>
                <a:gd name="T25" fmla="*/ 17 h 69"/>
                <a:gd name="T26" fmla="*/ 0 w 251"/>
                <a:gd name="T27" fmla="*/ 23 h 69"/>
                <a:gd name="T28" fmla="*/ 0 w 251"/>
                <a:gd name="T29" fmla="*/ 23 h 69"/>
                <a:gd name="T30" fmla="*/ 2 w 251"/>
                <a:gd name="T31" fmla="*/ 32 h 69"/>
                <a:gd name="T32" fmla="*/ 6 w 251"/>
                <a:gd name="T33" fmla="*/ 42 h 69"/>
                <a:gd name="T34" fmla="*/ 6 w 251"/>
                <a:gd name="T35" fmla="*/ 42 h 69"/>
                <a:gd name="T36" fmla="*/ 11 w 251"/>
                <a:gd name="T37" fmla="*/ 46 h 69"/>
                <a:gd name="T38" fmla="*/ 19 w 251"/>
                <a:gd name="T39" fmla="*/ 51 h 69"/>
                <a:gd name="T40" fmla="*/ 28 w 251"/>
                <a:gd name="T41" fmla="*/ 55 h 69"/>
                <a:gd name="T42" fmla="*/ 40 w 251"/>
                <a:gd name="T43" fmla="*/ 59 h 69"/>
                <a:gd name="T44" fmla="*/ 70 w 251"/>
                <a:gd name="T45" fmla="*/ 65 h 69"/>
                <a:gd name="T46" fmla="*/ 107 w 251"/>
                <a:gd name="T47" fmla="*/ 69 h 69"/>
                <a:gd name="T48" fmla="*/ 107 w 251"/>
                <a:gd name="T49" fmla="*/ 69 h 69"/>
                <a:gd name="T50" fmla="*/ 127 w 251"/>
                <a:gd name="T51" fmla="*/ 69 h 69"/>
                <a:gd name="T52" fmla="*/ 127 w 251"/>
                <a:gd name="T53" fmla="*/ 69 h 69"/>
                <a:gd name="T54" fmla="*/ 152 w 251"/>
                <a:gd name="T55" fmla="*/ 67 h 69"/>
                <a:gd name="T56" fmla="*/ 175 w 251"/>
                <a:gd name="T57" fmla="*/ 65 h 69"/>
                <a:gd name="T58" fmla="*/ 196 w 251"/>
                <a:gd name="T59" fmla="*/ 61 h 69"/>
                <a:gd name="T60" fmla="*/ 213 w 251"/>
                <a:gd name="T61" fmla="*/ 57 h 69"/>
                <a:gd name="T62" fmla="*/ 238 w 251"/>
                <a:gd name="T63" fmla="*/ 49 h 69"/>
                <a:gd name="T64" fmla="*/ 247 w 251"/>
                <a:gd name="T65" fmla="*/ 46 h 69"/>
                <a:gd name="T66" fmla="*/ 247 w 251"/>
                <a:gd name="T67" fmla="*/ 46 h 69"/>
                <a:gd name="T68" fmla="*/ 249 w 251"/>
                <a:gd name="T69" fmla="*/ 44 h 69"/>
                <a:gd name="T70" fmla="*/ 251 w 251"/>
                <a:gd name="T71" fmla="*/ 40 h 69"/>
                <a:gd name="T72" fmla="*/ 251 w 251"/>
                <a:gd name="T73" fmla="*/ 40 h 69"/>
                <a:gd name="T74" fmla="*/ 251 w 251"/>
                <a:gd name="T75" fmla="*/ 36 h 69"/>
                <a:gd name="T76" fmla="*/ 249 w 251"/>
                <a:gd name="T77" fmla="*/ 34 h 69"/>
                <a:gd name="T78" fmla="*/ 211 w 251"/>
                <a:gd name="T79" fmla="*/ 13 h 69"/>
                <a:gd name="T80" fmla="*/ 211 w 251"/>
                <a:gd name="T81" fmla="*/ 13 h 69"/>
                <a:gd name="T82" fmla="*/ 207 w 251"/>
                <a:gd name="T83" fmla="*/ 11 h 69"/>
                <a:gd name="T84" fmla="*/ 207 w 251"/>
                <a:gd name="T85" fmla="*/ 11 h 69"/>
                <a:gd name="T86" fmla="*/ 192 w 251"/>
                <a:gd name="T87" fmla="*/ 15 h 69"/>
                <a:gd name="T88" fmla="*/ 148 w 251"/>
                <a:gd name="T89" fmla="*/ 21 h 69"/>
                <a:gd name="T90" fmla="*/ 148 w 251"/>
                <a:gd name="T91" fmla="*/ 21 h 69"/>
                <a:gd name="T92" fmla="*/ 124 w 251"/>
                <a:gd name="T93" fmla="*/ 23 h 69"/>
                <a:gd name="T94" fmla="*/ 124 w 251"/>
                <a:gd name="T95" fmla="*/ 23 h 69"/>
                <a:gd name="T96" fmla="*/ 99 w 251"/>
                <a:gd name="T97" fmla="*/ 21 h 69"/>
                <a:gd name="T98" fmla="*/ 74 w 251"/>
                <a:gd name="T99" fmla="*/ 19 h 69"/>
                <a:gd name="T100" fmla="*/ 53 w 251"/>
                <a:gd name="T101" fmla="*/ 17 h 69"/>
                <a:gd name="T102" fmla="*/ 44 w 251"/>
                <a:gd name="T103" fmla="*/ 13 h 69"/>
                <a:gd name="T104" fmla="*/ 44 w 251"/>
                <a:gd name="T105" fmla="*/ 13 h 69"/>
                <a:gd name="T106" fmla="*/ 44 w 251"/>
                <a:gd name="T107" fmla="*/ 11 h 69"/>
                <a:gd name="T108" fmla="*/ 44 w 251"/>
                <a:gd name="T109" fmla="*/ 1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69">
                  <a:moveTo>
                    <a:pt x="44" y="11"/>
                  </a:moveTo>
                  <a:lnTo>
                    <a:pt x="44" y="11"/>
                  </a:lnTo>
                  <a:lnTo>
                    <a:pt x="46" y="8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1" y="4"/>
                  </a:lnTo>
                  <a:lnTo>
                    <a:pt x="13" y="8"/>
                  </a:lnTo>
                  <a:lnTo>
                    <a:pt x="7" y="11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3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1" y="46"/>
                  </a:lnTo>
                  <a:lnTo>
                    <a:pt x="19" y="51"/>
                  </a:lnTo>
                  <a:lnTo>
                    <a:pt x="28" y="55"/>
                  </a:lnTo>
                  <a:lnTo>
                    <a:pt x="40" y="59"/>
                  </a:lnTo>
                  <a:lnTo>
                    <a:pt x="70" y="65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27" y="69"/>
                  </a:lnTo>
                  <a:lnTo>
                    <a:pt x="127" y="69"/>
                  </a:lnTo>
                  <a:lnTo>
                    <a:pt x="152" y="67"/>
                  </a:lnTo>
                  <a:lnTo>
                    <a:pt x="175" y="65"/>
                  </a:lnTo>
                  <a:lnTo>
                    <a:pt x="196" y="61"/>
                  </a:lnTo>
                  <a:lnTo>
                    <a:pt x="213" y="57"/>
                  </a:lnTo>
                  <a:lnTo>
                    <a:pt x="238" y="49"/>
                  </a:lnTo>
                  <a:lnTo>
                    <a:pt x="247" y="46"/>
                  </a:lnTo>
                  <a:lnTo>
                    <a:pt x="247" y="46"/>
                  </a:lnTo>
                  <a:lnTo>
                    <a:pt x="249" y="44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1" y="36"/>
                  </a:lnTo>
                  <a:lnTo>
                    <a:pt x="249" y="34"/>
                  </a:lnTo>
                  <a:lnTo>
                    <a:pt x="211" y="13"/>
                  </a:lnTo>
                  <a:lnTo>
                    <a:pt x="211" y="13"/>
                  </a:lnTo>
                  <a:lnTo>
                    <a:pt x="207" y="11"/>
                  </a:lnTo>
                  <a:lnTo>
                    <a:pt x="207" y="11"/>
                  </a:lnTo>
                  <a:lnTo>
                    <a:pt x="192" y="15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99" y="21"/>
                  </a:lnTo>
                  <a:lnTo>
                    <a:pt x="74" y="19"/>
                  </a:lnTo>
                  <a:lnTo>
                    <a:pt x="53" y="17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4" y="1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2" name="Line 231"/>
            <p:cNvSpPr>
              <a:spLocks noChangeShapeType="1"/>
            </p:cNvSpPr>
            <p:nvPr/>
          </p:nvSpPr>
          <p:spPr bwMode="auto">
            <a:xfrm>
              <a:off x="3346450" y="627380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3" name="Freeform 232"/>
            <p:cNvSpPr>
              <a:spLocks noEditPoints="1"/>
            </p:cNvSpPr>
            <p:nvPr/>
          </p:nvSpPr>
          <p:spPr bwMode="auto">
            <a:xfrm>
              <a:off x="3076575" y="6334125"/>
              <a:ext cx="782638" cy="136525"/>
            </a:xfrm>
            <a:custGeom>
              <a:avLst/>
              <a:gdLst>
                <a:gd name="T0" fmla="*/ 219 w 493"/>
                <a:gd name="T1" fmla="*/ 86 h 86"/>
                <a:gd name="T2" fmla="*/ 328 w 493"/>
                <a:gd name="T3" fmla="*/ 82 h 86"/>
                <a:gd name="T4" fmla="*/ 408 w 493"/>
                <a:gd name="T5" fmla="*/ 69 h 86"/>
                <a:gd name="T6" fmla="*/ 461 w 493"/>
                <a:gd name="T7" fmla="*/ 54 h 86"/>
                <a:gd name="T8" fmla="*/ 488 w 493"/>
                <a:gd name="T9" fmla="*/ 39 h 86"/>
                <a:gd name="T10" fmla="*/ 490 w 493"/>
                <a:gd name="T11" fmla="*/ 35 h 86"/>
                <a:gd name="T12" fmla="*/ 493 w 493"/>
                <a:gd name="T13" fmla="*/ 23 h 86"/>
                <a:gd name="T14" fmla="*/ 492 w 493"/>
                <a:gd name="T15" fmla="*/ 16 h 86"/>
                <a:gd name="T16" fmla="*/ 482 w 493"/>
                <a:gd name="T17" fmla="*/ 6 h 86"/>
                <a:gd name="T18" fmla="*/ 478 w 493"/>
                <a:gd name="T19" fmla="*/ 6 h 86"/>
                <a:gd name="T20" fmla="*/ 474 w 493"/>
                <a:gd name="T21" fmla="*/ 8 h 86"/>
                <a:gd name="T22" fmla="*/ 474 w 493"/>
                <a:gd name="T23" fmla="*/ 16 h 86"/>
                <a:gd name="T24" fmla="*/ 474 w 493"/>
                <a:gd name="T25" fmla="*/ 18 h 86"/>
                <a:gd name="T26" fmla="*/ 472 w 493"/>
                <a:gd name="T27" fmla="*/ 21 h 86"/>
                <a:gd name="T28" fmla="*/ 457 w 493"/>
                <a:gd name="T29" fmla="*/ 27 h 86"/>
                <a:gd name="T30" fmla="*/ 392 w 493"/>
                <a:gd name="T31" fmla="*/ 42 h 86"/>
                <a:gd name="T32" fmla="*/ 326 w 493"/>
                <a:gd name="T33" fmla="*/ 50 h 86"/>
                <a:gd name="T34" fmla="*/ 286 w 493"/>
                <a:gd name="T35" fmla="*/ 52 h 86"/>
                <a:gd name="T36" fmla="*/ 236 w 493"/>
                <a:gd name="T37" fmla="*/ 54 h 86"/>
                <a:gd name="T38" fmla="*/ 166 w 493"/>
                <a:gd name="T39" fmla="*/ 52 h 86"/>
                <a:gd name="T40" fmla="*/ 71 w 493"/>
                <a:gd name="T41" fmla="*/ 39 h 86"/>
                <a:gd name="T42" fmla="*/ 52 w 493"/>
                <a:gd name="T43" fmla="*/ 31 h 86"/>
                <a:gd name="T44" fmla="*/ 59 w 493"/>
                <a:gd name="T45" fmla="*/ 27 h 86"/>
                <a:gd name="T46" fmla="*/ 90 w 493"/>
                <a:gd name="T47" fmla="*/ 18 h 86"/>
                <a:gd name="T48" fmla="*/ 111 w 493"/>
                <a:gd name="T49" fmla="*/ 14 h 86"/>
                <a:gd name="T50" fmla="*/ 114 w 493"/>
                <a:gd name="T51" fmla="*/ 6 h 86"/>
                <a:gd name="T52" fmla="*/ 113 w 493"/>
                <a:gd name="T53" fmla="*/ 2 h 86"/>
                <a:gd name="T54" fmla="*/ 109 w 493"/>
                <a:gd name="T55" fmla="*/ 0 h 86"/>
                <a:gd name="T56" fmla="*/ 101 w 493"/>
                <a:gd name="T57" fmla="*/ 2 h 86"/>
                <a:gd name="T58" fmla="*/ 34 w 493"/>
                <a:gd name="T59" fmla="*/ 10 h 86"/>
                <a:gd name="T60" fmla="*/ 10 w 493"/>
                <a:gd name="T61" fmla="*/ 20 h 86"/>
                <a:gd name="T62" fmla="*/ 0 w 493"/>
                <a:gd name="T63" fmla="*/ 31 h 86"/>
                <a:gd name="T64" fmla="*/ 0 w 493"/>
                <a:gd name="T65" fmla="*/ 35 h 86"/>
                <a:gd name="T66" fmla="*/ 6 w 493"/>
                <a:gd name="T67" fmla="*/ 54 h 86"/>
                <a:gd name="T68" fmla="*/ 12 w 493"/>
                <a:gd name="T69" fmla="*/ 60 h 86"/>
                <a:gd name="T70" fmla="*/ 36 w 493"/>
                <a:gd name="T71" fmla="*/ 71 h 86"/>
                <a:gd name="T72" fmla="*/ 82 w 493"/>
                <a:gd name="T73" fmla="*/ 80 h 86"/>
                <a:gd name="T74" fmla="*/ 164 w 493"/>
                <a:gd name="T75" fmla="*/ 86 h 86"/>
                <a:gd name="T76" fmla="*/ 219 w 493"/>
                <a:gd name="T77" fmla="*/ 86 h 86"/>
                <a:gd name="T78" fmla="*/ 219 w 493"/>
                <a:gd name="T79" fmla="*/ 86 h 86"/>
                <a:gd name="T80" fmla="*/ 219 w 493"/>
                <a:gd name="T8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3" h="86">
                  <a:moveTo>
                    <a:pt x="219" y="86"/>
                  </a:moveTo>
                  <a:lnTo>
                    <a:pt x="219" y="86"/>
                  </a:lnTo>
                  <a:lnTo>
                    <a:pt x="278" y="84"/>
                  </a:lnTo>
                  <a:lnTo>
                    <a:pt x="328" y="82"/>
                  </a:lnTo>
                  <a:lnTo>
                    <a:pt x="372" y="77"/>
                  </a:lnTo>
                  <a:lnTo>
                    <a:pt x="408" y="69"/>
                  </a:lnTo>
                  <a:lnTo>
                    <a:pt x="438" y="61"/>
                  </a:lnTo>
                  <a:lnTo>
                    <a:pt x="461" y="54"/>
                  </a:lnTo>
                  <a:lnTo>
                    <a:pt x="476" y="46"/>
                  </a:lnTo>
                  <a:lnTo>
                    <a:pt x="488" y="39"/>
                  </a:lnTo>
                  <a:lnTo>
                    <a:pt x="488" y="39"/>
                  </a:lnTo>
                  <a:lnTo>
                    <a:pt x="490" y="35"/>
                  </a:lnTo>
                  <a:lnTo>
                    <a:pt x="492" y="29"/>
                  </a:lnTo>
                  <a:lnTo>
                    <a:pt x="493" y="23"/>
                  </a:lnTo>
                  <a:lnTo>
                    <a:pt x="493" y="23"/>
                  </a:lnTo>
                  <a:lnTo>
                    <a:pt x="492" y="16"/>
                  </a:lnTo>
                  <a:lnTo>
                    <a:pt x="488" y="12"/>
                  </a:lnTo>
                  <a:lnTo>
                    <a:pt x="482" y="6"/>
                  </a:lnTo>
                  <a:lnTo>
                    <a:pt x="482" y="6"/>
                  </a:lnTo>
                  <a:lnTo>
                    <a:pt x="478" y="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72" y="12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8"/>
                  </a:lnTo>
                  <a:lnTo>
                    <a:pt x="472" y="21"/>
                  </a:lnTo>
                  <a:lnTo>
                    <a:pt x="472" y="21"/>
                  </a:lnTo>
                  <a:lnTo>
                    <a:pt x="467" y="23"/>
                  </a:lnTo>
                  <a:lnTo>
                    <a:pt x="457" y="27"/>
                  </a:lnTo>
                  <a:lnTo>
                    <a:pt x="419" y="37"/>
                  </a:lnTo>
                  <a:lnTo>
                    <a:pt x="392" y="42"/>
                  </a:lnTo>
                  <a:lnTo>
                    <a:pt x="362" y="46"/>
                  </a:lnTo>
                  <a:lnTo>
                    <a:pt x="326" y="50"/>
                  </a:lnTo>
                  <a:lnTo>
                    <a:pt x="286" y="52"/>
                  </a:lnTo>
                  <a:lnTo>
                    <a:pt x="286" y="52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00" y="54"/>
                  </a:lnTo>
                  <a:lnTo>
                    <a:pt x="166" y="52"/>
                  </a:lnTo>
                  <a:lnTo>
                    <a:pt x="111" y="46"/>
                  </a:lnTo>
                  <a:lnTo>
                    <a:pt x="71" y="39"/>
                  </a:lnTo>
                  <a:lnTo>
                    <a:pt x="59" y="35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9" y="27"/>
                  </a:lnTo>
                  <a:lnTo>
                    <a:pt x="73" y="21"/>
                  </a:lnTo>
                  <a:lnTo>
                    <a:pt x="90" y="18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4" y="10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3" y="2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67" y="4"/>
                  </a:lnTo>
                  <a:lnTo>
                    <a:pt x="34" y="10"/>
                  </a:lnTo>
                  <a:lnTo>
                    <a:pt x="21" y="14"/>
                  </a:lnTo>
                  <a:lnTo>
                    <a:pt x="10" y="20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21" y="65"/>
                  </a:lnTo>
                  <a:lnTo>
                    <a:pt x="36" y="71"/>
                  </a:lnTo>
                  <a:lnTo>
                    <a:pt x="55" y="75"/>
                  </a:lnTo>
                  <a:lnTo>
                    <a:pt x="82" y="80"/>
                  </a:lnTo>
                  <a:lnTo>
                    <a:pt x="118" y="82"/>
                  </a:lnTo>
                  <a:lnTo>
                    <a:pt x="164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  <a:close/>
                  <a:moveTo>
                    <a:pt x="219" y="86"/>
                  </a:moveTo>
                  <a:lnTo>
                    <a:pt x="219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4" name="Freeform 233"/>
            <p:cNvSpPr>
              <a:spLocks/>
            </p:cNvSpPr>
            <p:nvPr/>
          </p:nvSpPr>
          <p:spPr bwMode="auto">
            <a:xfrm>
              <a:off x="3076575" y="6334125"/>
              <a:ext cx="782638" cy="136525"/>
            </a:xfrm>
            <a:custGeom>
              <a:avLst/>
              <a:gdLst>
                <a:gd name="T0" fmla="*/ 219 w 493"/>
                <a:gd name="T1" fmla="*/ 86 h 86"/>
                <a:gd name="T2" fmla="*/ 328 w 493"/>
                <a:gd name="T3" fmla="*/ 82 h 86"/>
                <a:gd name="T4" fmla="*/ 408 w 493"/>
                <a:gd name="T5" fmla="*/ 69 h 86"/>
                <a:gd name="T6" fmla="*/ 461 w 493"/>
                <a:gd name="T7" fmla="*/ 54 h 86"/>
                <a:gd name="T8" fmla="*/ 488 w 493"/>
                <a:gd name="T9" fmla="*/ 39 h 86"/>
                <a:gd name="T10" fmla="*/ 490 w 493"/>
                <a:gd name="T11" fmla="*/ 35 h 86"/>
                <a:gd name="T12" fmla="*/ 493 w 493"/>
                <a:gd name="T13" fmla="*/ 23 h 86"/>
                <a:gd name="T14" fmla="*/ 492 w 493"/>
                <a:gd name="T15" fmla="*/ 16 h 86"/>
                <a:gd name="T16" fmla="*/ 482 w 493"/>
                <a:gd name="T17" fmla="*/ 6 h 86"/>
                <a:gd name="T18" fmla="*/ 478 w 493"/>
                <a:gd name="T19" fmla="*/ 6 h 86"/>
                <a:gd name="T20" fmla="*/ 474 w 493"/>
                <a:gd name="T21" fmla="*/ 8 h 86"/>
                <a:gd name="T22" fmla="*/ 474 w 493"/>
                <a:gd name="T23" fmla="*/ 16 h 86"/>
                <a:gd name="T24" fmla="*/ 474 w 493"/>
                <a:gd name="T25" fmla="*/ 18 h 86"/>
                <a:gd name="T26" fmla="*/ 472 w 493"/>
                <a:gd name="T27" fmla="*/ 21 h 86"/>
                <a:gd name="T28" fmla="*/ 457 w 493"/>
                <a:gd name="T29" fmla="*/ 27 h 86"/>
                <a:gd name="T30" fmla="*/ 392 w 493"/>
                <a:gd name="T31" fmla="*/ 42 h 86"/>
                <a:gd name="T32" fmla="*/ 326 w 493"/>
                <a:gd name="T33" fmla="*/ 50 h 86"/>
                <a:gd name="T34" fmla="*/ 286 w 493"/>
                <a:gd name="T35" fmla="*/ 52 h 86"/>
                <a:gd name="T36" fmla="*/ 236 w 493"/>
                <a:gd name="T37" fmla="*/ 54 h 86"/>
                <a:gd name="T38" fmla="*/ 166 w 493"/>
                <a:gd name="T39" fmla="*/ 52 h 86"/>
                <a:gd name="T40" fmla="*/ 71 w 493"/>
                <a:gd name="T41" fmla="*/ 39 h 86"/>
                <a:gd name="T42" fmla="*/ 52 w 493"/>
                <a:gd name="T43" fmla="*/ 31 h 86"/>
                <a:gd name="T44" fmla="*/ 59 w 493"/>
                <a:gd name="T45" fmla="*/ 27 h 86"/>
                <a:gd name="T46" fmla="*/ 90 w 493"/>
                <a:gd name="T47" fmla="*/ 18 h 86"/>
                <a:gd name="T48" fmla="*/ 111 w 493"/>
                <a:gd name="T49" fmla="*/ 14 h 86"/>
                <a:gd name="T50" fmla="*/ 114 w 493"/>
                <a:gd name="T51" fmla="*/ 6 h 86"/>
                <a:gd name="T52" fmla="*/ 113 w 493"/>
                <a:gd name="T53" fmla="*/ 2 h 86"/>
                <a:gd name="T54" fmla="*/ 109 w 493"/>
                <a:gd name="T55" fmla="*/ 0 h 86"/>
                <a:gd name="T56" fmla="*/ 101 w 493"/>
                <a:gd name="T57" fmla="*/ 2 h 86"/>
                <a:gd name="T58" fmla="*/ 34 w 493"/>
                <a:gd name="T59" fmla="*/ 10 h 86"/>
                <a:gd name="T60" fmla="*/ 10 w 493"/>
                <a:gd name="T61" fmla="*/ 20 h 86"/>
                <a:gd name="T62" fmla="*/ 0 w 493"/>
                <a:gd name="T63" fmla="*/ 31 h 86"/>
                <a:gd name="T64" fmla="*/ 0 w 493"/>
                <a:gd name="T65" fmla="*/ 35 h 86"/>
                <a:gd name="T66" fmla="*/ 6 w 493"/>
                <a:gd name="T67" fmla="*/ 54 h 86"/>
                <a:gd name="T68" fmla="*/ 12 w 493"/>
                <a:gd name="T69" fmla="*/ 60 h 86"/>
                <a:gd name="T70" fmla="*/ 36 w 493"/>
                <a:gd name="T71" fmla="*/ 71 h 86"/>
                <a:gd name="T72" fmla="*/ 82 w 493"/>
                <a:gd name="T73" fmla="*/ 80 h 86"/>
                <a:gd name="T74" fmla="*/ 164 w 493"/>
                <a:gd name="T75" fmla="*/ 86 h 86"/>
                <a:gd name="T76" fmla="*/ 219 w 493"/>
                <a:gd name="T77" fmla="*/ 86 h 86"/>
                <a:gd name="T78" fmla="*/ 219 w 493"/>
                <a:gd name="T7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93" h="86">
                  <a:moveTo>
                    <a:pt x="219" y="86"/>
                  </a:moveTo>
                  <a:lnTo>
                    <a:pt x="219" y="86"/>
                  </a:lnTo>
                  <a:lnTo>
                    <a:pt x="278" y="84"/>
                  </a:lnTo>
                  <a:lnTo>
                    <a:pt x="328" y="82"/>
                  </a:lnTo>
                  <a:lnTo>
                    <a:pt x="372" y="77"/>
                  </a:lnTo>
                  <a:lnTo>
                    <a:pt x="408" y="69"/>
                  </a:lnTo>
                  <a:lnTo>
                    <a:pt x="438" y="61"/>
                  </a:lnTo>
                  <a:lnTo>
                    <a:pt x="461" y="54"/>
                  </a:lnTo>
                  <a:lnTo>
                    <a:pt x="476" y="46"/>
                  </a:lnTo>
                  <a:lnTo>
                    <a:pt x="488" y="39"/>
                  </a:lnTo>
                  <a:lnTo>
                    <a:pt x="488" y="39"/>
                  </a:lnTo>
                  <a:lnTo>
                    <a:pt x="490" y="35"/>
                  </a:lnTo>
                  <a:lnTo>
                    <a:pt x="492" y="29"/>
                  </a:lnTo>
                  <a:lnTo>
                    <a:pt x="493" y="23"/>
                  </a:lnTo>
                  <a:lnTo>
                    <a:pt x="493" y="23"/>
                  </a:lnTo>
                  <a:lnTo>
                    <a:pt x="492" y="16"/>
                  </a:lnTo>
                  <a:lnTo>
                    <a:pt x="488" y="12"/>
                  </a:lnTo>
                  <a:lnTo>
                    <a:pt x="482" y="6"/>
                  </a:lnTo>
                  <a:lnTo>
                    <a:pt x="482" y="6"/>
                  </a:lnTo>
                  <a:lnTo>
                    <a:pt x="478" y="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72" y="12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8"/>
                  </a:lnTo>
                  <a:lnTo>
                    <a:pt x="472" y="21"/>
                  </a:lnTo>
                  <a:lnTo>
                    <a:pt x="472" y="21"/>
                  </a:lnTo>
                  <a:lnTo>
                    <a:pt x="467" y="23"/>
                  </a:lnTo>
                  <a:lnTo>
                    <a:pt x="457" y="27"/>
                  </a:lnTo>
                  <a:lnTo>
                    <a:pt x="419" y="37"/>
                  </a:lnTo>
                  <a:lnTo>
                    <a:pt x="392" y="42"/>
                  </a:lnTo>
                  <a:lnTo>
                    <a:pt x="362" y="46"/>
                  </a:lnTo>
                  <a:lnTo>
                    <a:pt x="326" y="50"/>
                  </a:lnTo>
                  <a:lnTo>
                    <a:pt x="286" y="52"/>
                  </a:lnTo>
                  <a:lnTo>
                    <a:pt x="286" y="52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00" y="54"/>
                  </a:lnTo>
                  <a:lnTo>
                    <a:pt x="166" y="52"/>
                  </a:lnTo>
                  <a:lnTo>
                    <a:pt x="111" y="46"/>
                  </a:lnTo>
                  <a:lnTo>
                    <a:pt x="71" y="39"/>
                  </a:lnTo>
                  <a:lnTo>
                    <a:pt x="59" y="35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9" y="27"/>
                  </a:lnTo>
                  <a:lnTo>
                    <a:pt x="73" y="21"/>
                  </a:lnTo>
                  <a:lnTo>
                    <a:pt x="90" y="18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4" y="10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3" y="2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67" y="4"/>
                  </a:lnTo>
                  <a:lnTo>
                    <a:pt x="34" y="10"/>
                  </a:lnTo>
                  <a:lnTo>
                    <a:pt x="21" y="14"/>
                  </a:lnTo>
                  <a:lnTo>
                    <a:pt x="10" y="20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21" y="65"/>
                  </a:lnTo>
                  <a:lnTo>
                    <a:pt x="36" y="71"/>
                  </a:lnTo>
                  <a:lnTo>
                    <a:pt x="55" y="75"/>
                  </a:lnTo>
                  <a:lnTo>
                    <a:pt x="82" y="80"/>
                  </a:lnTo>
                  <a:lnTo>
                    <a:pt x="118" y="82"/>
                  </a:lnTo>
                  <a:lnTo>
                    <a:pt x="164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5" name="Line 234"/>
            <p:cNvSpPr>
              <a:spLocks noChangeShapeType="1"/>
            </p:cNvSpPr>
            <p:nvPr/>
          </p:nvSpPr>
          <p:spPr bwMode="auto">
            <a:xfrm>
              <a:off x="3424238" y="6470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6" name="Freeform 235"/>
            <p:cNvSpPr>
              <a:spLocks noEditPoints="1"/>
            </p:cNvSpPr>
            <p:nvPr/>
          </p:nvSpPr>
          <p:spPr bwMode="auto">
            <a:xfrm>
              <a:off x="3236913" y="6403975"/>
              <a:ext cx="668338" cy="123825"/>
            </a:xfrm>
            <a:custGeom>
              <a:avLst/>
              <a:gdLst>
                <a:gd name="T0" fmla="*/ 417 w 421"/>
                <a:gd name="T1" fmla="*/ 0 h 78"/>
                <a:gd name="T2" fmla="*/ 417 w 421"/>
                <a:gd name="T3" fmla="*/ 0 h 78"/>
                <a:gd name="T4" fmla="*/ 413 w 421"/>
                <a:gd name="T5" fmla="*/ 0 h 78"/>
                <a:gd name="T6" fmla="*/ 411 w 421"/>
                <a:gd name="T7" fmla="*/ 2 h 78"/>
                <a:gd name="T8" fmla="*/ 411 w 421"/>
                <a:gd name="T9" fmla="*/ 2 h 78"/>
                <a:gd name="T10" fmla="*/ 406 w 421"/>
                <a:gd name="T11" fmla="*/ 6 h 78"/>
                <a:gd name="T12" fmla="*/ 389 w 421"/>
                <a:gd name="T13" fmla="*/ 17 h 78"/>
                <a:gd name="T14" fmla="*/ 375 w 421"/>
                <a:gd name="T15" fmla="*/ 23 h 78"/>
                <a:gd name="T16" fmla="*/ 360 w 421"/>
                <a:gd name="T17" fmla="*/ 29 h 78"/>
                <a:gd name="T18" fmla="*/ 337 w 421"/>
                <a:gd name="T19" fmla="*/ 36 h 78"/>
                <a:gd name="T20" fmla="*/ 312 w 421"/>
                <a:gd name="T21" fmla="*/ 42 h 78"/>
                <a:gd name="T22" fmla="*/ 312 w 421"/>
                <a:gd name="T23" fmla="*/ 42 h 78"/>
                <a:gd name="T24" fmla="*/ 288 w 421"/>
                <a:gd name="T25" fmla="*/ 46 h 78"/>
                <a:gd name="T26" fmla="*/ 251 w 421"/>
                <a:gd name="T27" fmla="*/ 48 h 78"/>
                <a:gd name="T28" fmla="*/ 208 w 421"/>
                <a:gd name="T29" fmla="*/ 50 h 78"/>
                <a:gd name="T30" fmla="*/ 156 w 421"/>
                <a:gd name="T31" fmla="*/ 52 h 78"/>
                <a:gd name="T32" fmla="*/ 156 w 421"/>
                <a:gd name="T33" fmla="*/ 52 h 78"/>
                <a:gd name="T34" fmla="*/ 53 w 421"/>
                <a:gd name="T35" fmla="*/ 50 h 78"/>
                <a:gd name="T36" fmla="*/ 6 w 421"/>
                <a:gd name="T37" fmla="*/ 48 h 78"/>
                <a:gd name="T38" fmla="*/ 6 w 421"/>
                <a:gd name="T39" fmla="*/ 48 h 78"/>
                <a:gd name="T40" fmla="*/ 2 w 421"/>
                <a:gd name="T41" fmla="*/ 50 h 78"/>
                <a:gd name="T42" fmla="*/ 0 w 421"/>
                <a:gd name="T43" fmla="*/ 54 h 78"/>
                <a:gd name="T44" fmla="*/ 0 w 421"/>
                <a:gd name="T45" fmla="*/ 54 h 78"/>
                <a:gd name="T46" fmla="*/ 2 w 421"/>
                <a:gd name="T47" fmla="*/ 57 h 78"/>
                <a:gd name="T48" fmla="*/ 4 w 421"/>
                <a:gd name="T49" fmla="*/ 59 h 78"/>
                <a:gd name="T50" fmla="*/ 4 w 421"/>
                <a:gd name="T51" fmla="*/ 59 h 78"/>
                <a:gd name="T52" fmla="*/ 19 w 421"/>
                <a:gd name="T53" fmla="*/ 63 h 78"/>
                <a:gd name="T54" fmla="*/ 55 w 421"/>
                <a:gd name="T55" fmla="*/ 69 h 78"/>
                <a:gd name="T56" fmla="*/ 112 w 421"/>
                <a:gd name="T57" fmla="*/ 75 h 78"/>
                <a:gd name="T58" fmla="*/ 149 w 421"/>
                <a:gd name="T59" fmla="*/ 76 h 78"/>
                <a:gd name="T60" fmla="*/ 185 w 421"/>
                <a:gd name="T61" fmla="*/ 78 h 78"/>
                <a:gd name="T62" fmla="*/ 185 w 421"/>
                <a:gd name="T63" fmla="*/ 78 h 78"/>
                <a:gd name="T64" fmla="*/ 223 w 421"/>
                <a:gd name="T65" fmla="*/ 76 h 78"/>
                <a:gd name="T66" fmla="*/ 259 w 421"/>
                <a:gd name="T67" fmla="*/ 75 h 78"/>
                <a:gd name="T68" fmla="*/ 295 w 421"/>
                <a:gd name="T69" fmla="*/ 71 h 78"/>
                <a:gd name="T70" fmla="*/ 330 w 421"/>
                <a:gd name="T71" fmla="*/ 65 h 78"/>
                <a:gd name="T72" fmla="*/ 330 w 421"/>
                <a:gd name="T73" fmla="*/ 65 h 78"/>
                <a:gd name="T74" fmla="*/ 358 w 421"/>
                <a:gd name="T75" fmla="*/ 59 h 78"/>
                <a:gd name="T76" fmla="*/ 379 w 421"/>
                <a:gd name="T77" fmla="*/ 50 h 78"/>
                <a:gd name="T78" fmla="*/ 396 w 421"/>
                <a:gd name="T79" fmla="*/ 40 h 78"/>
                <a:gd name="T80" fmla="*/ 408 w 421"/>
                <a:gd name="T81" fmla="*/ 31 h 78"/>
                <a:gd name="T82" fmla="*/ 415 w 421"/>
                <a:gd name="T83" fmla="*/ 21 h 78"/>
                <a:gd name="T84" fmla="*/ 419 w 421"/>
                <a:gd name="T85" fmla="*/ 14 h 78"/>
                <a:gd name="T86" fmla="*/ 421 w 421"/>
                <a:gd name="T87" fmla="*/ 6 h 78"/>
                <a:gd name="T88" fmla="*/ 421 w 421"/>
                <a:gd name="T89" fmla="*/ 6 h 78"/>
                <a:gd name="T90" fmla="*/ 421 w 421"/>
                <a:gd name="T91" fmla="*/ 2 h 78"/>
                <a:gd name="T92" fmla="*/ 417 w 421"/>
                <a:gd name="T93" fmla="*/ 0 h 78"/>
                <a:gd name="T94" fmla="*/ 417 w 421"/>
                <a:gd name="T95" fmla="*/ 0 h 78"/>
                <a:gd name="T96" fmla="*/ 417 w 421"/>
                <a:gd name="T97" fmla="*/ 0 h 78"/>
                <a:gd name="T98" fmla="*/ 417 w 421"/>
                <a:gd name="T9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1" h="78">
                  <a:moveTo>
                    <a:pt x="417" y="0"/>
                  </a:moveTo>
                  <a:lnTo>
                    <a:pt x="417" y="0"/>
                  </a:lnTo>
                  <a:lnTo>
                    <a:pt x="413" y="0"/>
                  </a:lnTo>
                  <a:lnTo>
                    <a:pt x="411" y="2"/>
                  </a:lnTo>
                  <a:lnTo>
                    <a:pt x="411" y="2"/>
                  </a:lnTo>
                  <a:lnTo>
                    <a:pt x="406" y="6"/>
                  </a:lnTo>
                  <a:lnTo>
                    <a:pt x="389" y="17"/>
                  </a:lnTo>
                  <a:lnTo>
                    <a:pt x="375" y="23"/>
                  </a:lnTo>
                  <a:lnTo>
                    <a:pt x="360" y="29"/>
                  </a:lnTo>
                  <a:lnTo>
                    <a:pt x="337" y="36"/>
                  </a:lnTo>
                  <a:lnTo>
                    <a:pt x="312" y="42"/>
                  </a:lnTo>
                  <a:lnTo>
                    <a:pt x="312" y="42"/>
                  </a:lnTo>
                  <a:lnTo>
                    <a:pt x="288" y="46"/>
                  </a:lnTo>
                  <a:lnTo>
                    <a:pt x="251" y="48"/>
                  </a:lnTo>
                  <a:lnTo>
                    <a:pt x="208" y="50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53" y="50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19" y="63"/>
                  </a:lnTo>
                  <a:lnTo>
                    <a:pt x="55" y="69"/>
                  </a:lnTo>
                  <a:lnTo>
                    <a:pt x="112" y="75"/>
                  </a:lnTo>
                  <a:lnTo>
                    <a:pt x="149" y="76"/>
                  </a:lnTo>
                  <a:lnTo>
                    <a:pt x="185" y="78"/>
                  </a:lnTo>
                  <a:lnTo>
                    <a:pt x="185" y="78"/>
                  </a:lnTo>
                  <a:lnTo>
                    <a:pt x="223" y="76"/>
                  </a:lnTo>
                  <a:lnTo>
                    <a:pt x="259" y="75"/>
                  </a:lnTo>
                  <a:lnTo>
                    <a:pt x="295" y="71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58" y="59"/>
                  </a:lnTo>
                  <a:lnTo>
                    <a:pt x="379" y="50"/>
                  </a:lnTo>
                  <a:lnTo>
                    <a:pt x="396" y="40"/>
                  </a:lnTo>
                  <a:lnTo>
                    <a:pt x="408" y="31"/>
                  </a:lnTo>
                  <a:lnTo>
                    <a:pt x="415" y="21"/>
                  </a:lnTo>
                  <a:lnTo>
                    <a:pt x="419" y="14"/>
                  </a:lnTo>
                  <a:lnTo>
                    <a:pt x="421" y="6"/>
                  </a:lnTo>
                  <a:lnTo>
                    <a:pt x="421" y="6"/>
                  </a:lnTo>
                  <a:lnTo>
                    <a:pt x="421" y="2"/>
                  </a:lnTo>
                  <a:lnTo>
                    <a:pt x="417" y="0"/>
                  </a:lnTo>
                  <a:lnTo>
                    <a:pt x="417" y="0"/>
                  </a:lnTo>
                  <a:close/>
                  <a:moveTo>
                    <a:pt x="417" y="0"/>
                  </a:moveTo>
                  <a:lnTo>
                    <a:pt x="4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7" name="Freeform 236"/>
            <p:cNvSpPr>
              <a:spLocks/>
            </p:cNvSpPr>
            <p:nvPr/>
          </p:nvSpPr>
          <p:spPr bwMode="auto">
            <a:xfrm>
              <a:off x="3236913" y="6403975"/>
              <a:ext cx="668338" cy="123825"/>
            </a:xfrm>
            <a:custGeom>
              <a:avLst/>
              <a:gdLst>
                <a:gd name="T0" fmla="*/ 417 w 421"/>
                <a:gd name="T1" fmla="*/ 0 h 78"/>
                <a:gd name="T2" fmla="*/ 417 w 421"/>
                <a:gd name="T3" fmla="*/ 0 h 78"/>
                <a:gd name="T4" fmla="*/ 413 w 421"/>
                <a:gd name="T5" fmla="*/ 0 h 78"/>
                <a:gd name="T6" fmla="*/ 411 w 421"/>
                <a:gd name="T7" fmla="*/ 2 h 78"/>
                <a:gd name="T8" fmla="*/ 411 w 421"/>
                <a:gd name="T9" fmla="*/ 2 h 78"/>
                <a:gd name="T10" fmla="*/ 406 w 421"/>
                <a:gd name="T11" fmla="*/ 6 h 78"/>
                <a:gd name="T12" fmla="*/ 389 w 421"/>
                <a:gd name="T13" fmla="*/ 17 h 78"/>
                <a:gd name="T14" fmla="*/ 375 w 421"/>
                <a:gd name="T15" fmla="*/ 23 h 78"/>
                <a:gd name="T16" fmla="*/ 360 w 421"/>
                <a:gd name="T17" fmla="*/ 29 h 78"/>
                <a:gd name="T18" fmla="*/ 337 w 421"/>
                <a:gd name="T19" fmla="*/ 36 h 78"/>
                <a:gd name="T20" fmla="*/ 312 w 421"/>
                <a:gd name="T21" fmla="*/ 42 h 78"/>
                <a:gd name="T22" fmla="*/ 312 w 421"/>
                <a:gd name="T23" fmla="*/ 42 h 78"/>
                <a:gd name="T24" fmla="*/ 288 w 421"/>
                <a:gd name="T25" fmla="*/ 46 h 78"/>
                <a:gd name="T26" fmla="*/ 251 w 421"/>
                <a:gd name="T27" fmla="*/ 48 h 78"/>
                <a:gd name="T28" fmla="*/ 208 w 421"/>
                <a:gd name="T29" fmla="*/ 50 h 78"/>
                <a:gd name="T30" fmla="*/ 156 w 421"/>
                <a:gd name="T31" fmla="*/ 52 h 78"/>
                <a:gd name="T32" fmla="*/ 156 w 421"/>
                <a:gd name="T33" fmla="*/ 52 h 78"/>
                <a:gd name="T34" fmla="*/ 53 w 421"/>
                <a:gd name="T35" fmla="*/ 50 h 78"/>
                <a:gd name="T36" fmla="*/ 6 w 421"/>
                <a:gd name="T37" fmla="*/ 48 h 78"/>
                <a:gd name="T38" fmla="*/ 6 w 421"/>
                <a:gd name="T39" fmla="*/ 48 h 78"/>
                <a:gd name="T40" fmla="*/ 2 w 421"/>
                <a:gd name="T41" fmla="*/ 50 h 78"/>
                <a:gd name="T42" fmla="*/ 0 w 421"/>
                <a:gd name="T43" fmla="*/ 54 h 78"/>
                <a:gd name="T44" fmla="*/ 0 w 421"/>
                <a:gd name="T45" fmla="*/ 54 h 78"/>
                <a:gd name="T46" fmla="*/ 2 w 421"/>
                <a:gd name="T47" fmla="*/ 57 h 78"/>
                <a:gd name="T48" fmla="*/ 4 w 421"/>
                <a:gd name="T49" fmla="*/ 59 h 78"/>
                <a:gd name="T50" fmla="*/ 4 w 421"/>
                <a:gd name="T51" fmla="*/ 59 h 78"/>
                <a:gd name="T52" fmla="*/ 19 w 421"/>
                <a:gd name="T53" fmla="*/ 63 h 78"/>
                <a:gd name="T54" fmla="*/ 55 w 421"/>
                <a:gd name="T55" fmla="*/ 69 h 78"/>
                <a:gd name="T56" fmla="*/ 112 w 421"/>
                <a:gd name="T57" fmla="*/ 75 h 78"/>
                <a:gd name="T58" fmla="*/ 149 w 421"/>
                <a:gd name="T59" fmla="*/ 76 h 78"/>
                <a:gd name="T60" fmla="*/ 185 w 421"/>
                <a:gd name="T61" fmla="*/ 78 h 78"/>
                <a:gd name="T62" fmla="*/ 185 w 421"/>
                <a:gd name="T63" fmla="*/ 78 h 78"/>
                <a:gd name="T64" fmla="*/ 223 w 421"/>
                <a:gd name="T65" fmla="*/ 76 h 78"/>
                <a:gd name="T66" fmla="*/ 259 w 421"/>
                <a:gd name="T67" fmla="*/ 75 h 78"/>
                <a:gd name="T68" fmla="*/ 295 w 421"/>
                <a:gd name="T69" fmla="*/ 71 h 78"/>
                <a:gd name="T70" fmla="*/ 330 w 421"/>
                <a:gd name="T71" fmla="*/ 65 h 78"/>
                <a:gd name="T72" fmla="*/ 330 w 421"/>
                <a:gd name="T73" fmla="*/ 65 h 78"/>
                <a:gd name="T74" fmla="*/ 358 w 421"/>
                <a:gd name="T75" fmla="*/ 59 h 78"/>
                <a:gd name="T76" fmla="*/ 379 w 421"/>
                <a:gd name="T77" fmla="*/ 50 h 78"/>
                <a:gd name="T78" fmla="*/ 396 w 421"/>
                <a:gd name="T79" fmla="*/ 40 h 78"/>
                <a:gd name="T80" fmla="*/ 408 w 421"/>
                <a:gd name="T81" fmla="*/ 31 h 78"/>
                <a:gd name="T82" fmla="*/ 415 w 421"/>
                <a:gd name="T83" fmla="*/ 21 h 78"/>
                <a:gd name="T84" fmla="*/ 419 w 421"/>
                <a:gd name="T85" fmla="*/ 14 h 78"/>
                <a:gd name="T86" fmla="*/ 421 w 421"/>
                <a:gd name="T87" fmla="*/ 6 h 78"/>
                <a:gd name="T88" fmla="*/ 421 w 421"/>
                <a:gd name="T89" fmla="*/ 6 h 78"/>
                <a:gd name="T90" fmla="*/ 421 w 421"/>
                <a:gd name="T91" fmla="*/ 2 h 78"/>
                <a:gd name="T92" fmla="*/ 417 w 421"/>
                <a:gd name="T93" fmla="*/ 0 h 78"/>
                <a:gd name="T94" fmla="*/ 417 w 421"/>
                <a:gd name="T9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1" h="78">
                  <a:moveTo>
                    <a:pt x="417" y="0"/>
                  </a:moveTo>
                  <a:lnTo>
                    <a:pt x="417" y="0"/>
                  </a:lnTo>
                  <a:lnTo>
                    <a:pt x="413" y="0"/>
                  </a:lnTo>
                  <a:lnTo>
                    <a:pt x="411" y="2"/>
                  </a:lnTo>
                  <a:lnTo>
                    <a:pt x="411" y="2"/>
                  </a:lnTo>
                  <a:lnTo>
                    <a:pt x="406" y="6"/>
                  </a:lnTo>
                  <a:lnTo>
                    <a:pt x="389" y="17"/>
                  </a:lnTo>
                  <a:lnTo>
                    <a:pt x="375" y="23"/>
                  </a:lnTo>
                  <a:lnTo>
                    <a:pt x="360" y="29"/>
                  </a:lnTo>
                  <a:lnTo>
                    <a:pt x="337" y="36"/>
                  </a:lnTo>
                  <a:lnTo>
                    <a:pt x="312" y="42"/>
                  </a:lnTo>
                  <a:lnTo>
                    <a:pt x="312" y="42"/>
                  </a:lnTo>
                  <a:lnTo>
                    <a:pt x="288" y="46"/>
                  </a:lnTo>
                  <a:lnTo>
                    <a:pt x="251" y="48"/>
                  </a:lnTo>
                  <a:lnTo>
                    <a:pt x="208" y="50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53" y="50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19" y="63"/>
                  </a:lnTo>
                  <a:lnTo>
                    <a:pt x="55" y="69"/>
                  </a:lnTo>
                  <a:lnTo>
                    <a:pt x="112" y="75"/>
                  </a:lnTo>
                  <a:lnTo>
                    <a:pt x="149" y="76"/>
                  </a:lnTo>
                  <a:lnTo>
                    <a:pt x="185" y="78"/>
                  </a:lnTo>
                  <a:lnTo>
                    <a:pt x="185" y="78"/>
                  </a:lnTo>
                  <a:lnTo>
                    <a:pt x="223" y="76"/>
                  </a:lnTo>
                  <a:lnTo>
                    <a:pt x="259" y="75"/>
                  </a:lnTo>
                  <a:lnTo>
                    <a:pt x="295" y="71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58" y="59"/>
                  </a:lnTo>
                  <a:lnTo>
                    <a:pt x="379" y="50"/>
                  </a:lnTo>
                  <a:lnTo>
                    <a:pt x="396" y="40"/>
                  </a:lnTo>
                  <a:lnTo>
                    <a:pt x="408" y="31"/>
                  </a:lnTo>
                  <a:lnTo>
                    <a:pt x="415" y="21"/>
                  </a:lnTo>
                  <a:lnTo>
                    <a:pt x="419" y="14"/>
                  </a:lnTo>
                  <a:lnTo>
                    <a:pt x="421" y="6"/>
                  </a:lnTo>
                  <a:lnTo>
                    <a:pt x="421" y="6"/>
                  </a:lnTo>
                  <a:lnTo>
                    <a:pt x="421" y="2"/>
                  </a:lnTo>
                  <a:lnTo>
                    <a:pt x="417" y="0"/>
                  </a:lnTo>
                  <a:lnTo>
                    <a:pt x="41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8" name="Line 237"/>
            <p:cNvSpPr>
              <a:spLocks noChangeShapeType="1"/>
            </p:cNvSpPr>
            <p:nvPr/>
          </p:nvSpPr>
          <p:spPr bwMode="auto">
            <a:xfrm>
              <a:off x="3898900" y="640397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96681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Layered</a:t>
            </a:r>
            <a:r>
              <a:rPr lang="cs-CZ" dirty="0"/>
              <a:t> </a:t>
            </a:r>
            <a:r>
              <a:rPr lang="cs-CZ" dirty="0" err="1"/>
              <a:t>architecture</a:t>
            </a:r>
            <a:endParaRPr lang="en-US" dirty="0"/>
          </a:p>
        </p:txBody>
      </p:sp>
      <p:pic>
        <p:nvPicPr>
          <p:cNvPr id="2050" name="Picture 2" descr="https://i-msdn.sec.s-msft.com/dynimg/IC351011.pn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76" y="2209570"/>
            <a:ext cx="4015185" cy="321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ovéPole 3"/>
          <p:cNvSpPr txBox="1"/>
          <p:nvPr/>
        </p:nvSpPr>
        <p:spPr>
          <a:xfrm>
            <a:off x="303176" y="5958662"/>
            <a:ext cx="79459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Zdroj: https://msdn.microsoft.com/en-us/library/ee658109.aspx</a:t>
            </a:r>
            <a:endParaRPr lang="en-US" sz="1200" dirty="0"/>
          </a:p>
        </p:txBody>
      </p:sp>
      <p:pic>
        <p:nvPicPr>
          <p:cNvPr id="2052" name="Picture 4" descr="Ee658109.4bee4a28-6791-4df2-8c8c-9a45d9afcf6a(en-us,PandP.10)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7956" y="1857552"/>
            <a:ext cx="3788296" cy="3914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25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Layered</a:t>
            </a:r>
            <a:r>
              <a:rPr lang="cs-CZ" dirty="0"/>
              <a:t> </a:t>
            </a:r>
            <a:r>
              <a:rPr lang="cs-CZ" dirty="0" err="1"/>
              <a:t>architecture</a:t>
            </a:r>
            <a:r>
              <a:rPr lang="cs-CZ" dirty="0"/>
              <a:t> 2</a:t>
            </a:r>
            <a:endParaRPr lang="en-US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4815348" y="1921751"/>
            <a:ext cx="3912248" cy="4241496"/>
          </a:xfrm>
        </p:spPr>
        <p:txBody>
          <a:bodyPr/>
          <a:lstStyle/>
          <a:p>
            <a:r>
              <a:rPr lang="cs-CZ" dirty="0"/>
              <a:t>Ostatní aplikace mohou využít funkce našich vrstev</a:t>
            </a:r>
          </a:p>
          <a:p>
            <a:r>
              <a:rPr lang="cs-CZ" dirty="0"/>
              <a:t>Snadné přidávání funkcí</a:t>
            </a:r>
          </a:p>
          <a:p>
            <a:r>
              <a:rPr lang="cs-CZ" dirty="0"/>
              <a:t>Snadná údržba aplikace</a:t>
            </a:r>
          </a:p>
          <a:p>
            <a:r>
              <a:rPr lang="cs-CZ" dirty="0" err="1"/>
              <a:t>Loose</a:t>
            </a:r>
            <a:r>
              <a:rPr lang="cs-CZ" dirty="0"/>
              <a:t> </a:t>
            </a:r>
            <a:r>
              <a:rPr lang="cs-CZ" dirty="0" err="1"/>
              <a:t>coupling</a:t>
            </a:r>
            <a:endParaRPr lang="cs-CZ" dirty="0"/>
          </a:p>
          <a:p>
            <a:r>
              <a:rPr lang="cs-CZ" dirty="0" err="1"/>
              <a:t>High</a:t>
            </a:r>
            <a:r>
              <a:rPr lang="cs-CZ" dirty="0"/>
              <a:t> </a:t>
            </a:r>
            <a:r>
              <a:rPr lang="cs-CZ" dirty="0" err="1"/>
              <a:t>cohersion</a:t>
            </a:r>
            <a:endParaRPr lang="en-US" dirty="0"/>
          </a:p>
        </p:txBody>
      </p:sp>
      <p:pic>
        <p:nvPicPr>
          <p:cNvPr id="4" name="Picture 4" descr="Ee658109.4bee4a28-6791-4df2-8c8c-9a45d9afcf6a(en-us,PandP.10).pn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49" y="1921751"/>
            <a:ext cx="3788296" cy="3914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1229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641</TotalTime>
  <Words>241</Words>
  <Application>Microsoft Office PowerPoint</Application>
  <PresentationFormat>On-screen Show (4:3)</PresentationFormat>
  <Paragraphs>7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Technika-Bold</vt:lpstr>
      <vt:lpstr>Calibri</vt:lpstr>
      <vt:lpstr>Technika</vt:lpstr>
      <vt:lpstr>Arial</vt:lpstr>
      <vt:lpstr>PowerPoint_CS</vt:lpstr>
      <vt:lpstr>think-cell Slide</vt:lpstr>
      <vt:lpstr>Projekt NSS: Dobrovolnická databáze  pro Člověka v tísni Finální prezentace projektu</vt:lpstr>
      <vt:lpstr>O co jde?</vt:lpstr>
      <vt:lpstr>Požadavky</vt:lpstr>
      <vt:lpstr>Use Cases</vt:lpstr>
      <vt:lpstr>Diagram tříd</vt:lpstr>
      <vt:lpstr>Důsledky zavedení systému</vt:lpstr>
      <vt:lpstr>Současný stav – co je hotovo?</vt:lpstr>
      <vt:lpstr>Layered architecture</vt:lpstr>
      <vt:lpstr>Layered architecture 2</vt:lpstr>
      <vt:lpstr>Spring architecture</vt:lpstr>
      <vt:lpstr>Quality attributes of Java EE</vt:lpstr>
      <vt:lpstr>Ukázka</vt:lpstr>
      <vt:lpstr>4 moudra na závěr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96</cp:revision>
  <dcterms:created xsi:type="dcterms:W3CDTF">2016-12-15T15:45:09Z</dcterms:created>
  <dcterms:modified xsi:type="dcterms:W3CDTF">2017-05-19T08:58:46Z</dcterms:modified>
</cp:coreProperties>
</file>